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85"/>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5201B30F-CB7F-4250-8DF5-0509B08CD734}">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Lst>
        </p14:section>
        <p14:section name="Sector Shelf Price/Vol Comparison" id="{730CCF99-DB95-497C-8786-EE372DF8AC2E}">
          <p14:sldIdLst>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Lst>
        </p14:section>
        <p14:section name="Segment Avg Price/Vol Comparison" id="{04F21857-34A7-47D2-9572-D0E1D7F0ABB2}">
          <p14:sldIdLst>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Lst>
        </p14:section>
        <p14:section name="Segment Shelf Price/Vol Comparison" id="{9E552507-472E-4ACC-B68D-CEAF748CAB1F}">
          <p14:sldIdLst>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notesMaster" Target="notesMasters/notesMaster1.xml"/><Relationship Id="rId86" Type="http://schemas.openxmlformats.org/officeDocument/2006/relationships/presProps" Target="presProps.xml"/><Relationship Id="rId87" Type="http://schemas.openxmlformats.org/officeDocument/2006/relationships/viewProps" Target="viewProps.xml"/><Relationship Id="rId88" Type="http://schemas.openxmlformats.org/officeDocument/2006/relationships/theme" Target="theme/theme1.xml"/><Relationship Id="rId89" Type="http://schemas.openxmlformats.org/officeDocument/2006/relationships/tableStyles" Target="tableStyles.xml"/><Relationship Id="rId9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B$2:$B$2</c:f>
              <c:numCache>
                <c:formatCode>General</c:formatCode>
                <c:ptCount val="1"/>
                <c:pt idx="0">
                  <c:v>243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1251.7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C$2:$C$2</c:f>
              <c:numCache>
                <c:formatCode>General</c:formatCode>
                <c:ptCount val="1"/>
                <c:pt idx="0">
                  <c:v>1251.7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D$2:$D$2</c:f>
              <c:numCache>
                <c:formatCode>General</c:formatCode>
                <c:ptCount val="1"/>
                <c:pt idx="0">
                  <c:v>2209.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E$2:$E$2</c:f>
              <c:numCache>
                <c:formatCode>General</c:formatCode>
                <c:ptCount val="1"/>
                <c:pt idx="0">
                  <c:v>8413.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F$2:$F$2</c:f>
              <c:numCache>
                <c:formatCode>General</c:formatCode>
                <c:ptCount val="1"/>
                <c:pt idx="0">
                  <c:v>7853.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414.4114"/>
          <c:min val="1251.241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B$2:$B$2</c:f>
              <c:numCache>
                <c:formatCode>General</c:formatCode>
                <c:ptCount val="1"/>
                <c:pt idx="0">
                  <c:v>2479.5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269.7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C$2:$C$2</c:f>
              <c:numCache>
                <c:formatCode>General</c:formatCode>
                <c:ptCount val="1"/>
                <c:pt idx="0">
                  <c:v>1269.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D$2:$D$2</c:f>
              <c:numCache>
                <c:formatCode>General</c:formatCode>
                <c:ptCount val="1"/>
                <c:pt idx="0">
                  <c:v>1767.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E$2:$E$2</c:f>
              <c:numCache>
                <c:formatCode>General</c:formatCode>
                <c:ptCount val="1"/>
                <c:pt idx="0">
                  <c:v>10861.3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F$2:$F$2</c:f>
              <c:numCache>
                <c:formatCode>General</c:formatCode>
                <c:ptCount val="1"/>
                <c:pt idx="0">
                  <c:v>7764.7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861.846"/>
          <c:min val="1269.26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34</c:v>
                </c:pt>
              </c:strCache>
            </c:strRef>
          </c:cat>
          <c:val>
            <c:numRef>
              <c:f>Sheet1!$B$2:$B$2</c:f>
              <c:numCache>
                <c:formatCode>General</c:formatCode>
                <c:ptCount val="1"/>
                <c:pt idx="0">
                  <c:v>2479.5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34</a:t>
                    </a:r>
                  </a:p>
                  <a:p>
                    <a:r>
                      <a:t>4126.1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34</c:v>
                </c:pt>
              </c:strCache>
            </c:strRef>
          </c:cat>
          <c:val>
            <c:numRef>
              <c:f>Sheet1!$C$2:$C$2</c:f>
              <c:numCache>
                <c:formatCode>General</c:formatCode>
                <c:ptCount val="1"/>
                <c:pt idx="0">
                  <c:v>4126.1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34</c:v>
                </c:pt>
              </c:strCache>
            </c:strRef>
          </c:cat>
          <c:val>
            <c:numRef>
              <c:f>Sheet1!$D$2:$D$2</c:f>
              <c:numCache>
                <c:formatCode>General</c:formatCode>
                <c:ptCount val="1"/>
                <c:pt idx="0">
                  <c:v>1767.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34</c:v>
                </c:pt>
              </c:strCache>
            </c:strRef>
          </c:cat>
          <c:val>
            <c:numRef>
              <c:f>Sheet1!$E$2:$E$2</c:f>
              <c:numCache>
                <c:formatCode>General</c:formatCode>
                <c:ptCount val="1"/>
                <c:pt idx="0">
                  <c:v>10861.3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34</c:v>
                </c:pt>
              </c:strCache>
            </c:strRef>
          </c:cat>
          <c:val>
            <c:numRef>
              <c:f>Sheet1!$F$2:$F$2</c:f>
              <c:numCache>
                <c:formatCode>General</c:formatCode>
                <c:ptCount val="1"/>
                <c:pt idx="0">
                  <c:v>7764.7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861.846"/>
          <c:min val="1766.53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c:v>
                </c:pt>
              </c:strCache>
            </c:strRef>
          </c:cat>
          <c:val>
            <c:numRef>
              <c:f>Sheet1!$B$2:$B$2</c:f>
              <c:numCache>
                <c:formatCode>General</c:formatCode>
                <c:ptCount val="1"/>
                <c:pt idx="0">
                  <c:v>4291.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9</a:t>
                    </a:r>
                  </a:p>
                  <a:p>
                    <a:r>
                      <a:t>1281.8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c:v>
                </c:pt>
              </c:strCache>
            </c:strRef>
          </c:cat>
          <c:val>
            <c:numRef>
              <c:f>Sheet1!$C$2:$C$2</c:f>
              <c:numCache>
                <c:formatCode>General</c:formatCode>
                <c:ptCount val="1"/>
                <c:pt idx="0">
                  <c:v>1281.8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c:v>
                </c:pt>
              </c:strCache>
            </c:strRef>
          </c:cat>
          <c:val>
            <c:numRef>
              <c:f>Sheet1!$D$2:$D$2</c:f>
              <c:numCache>
                <c:formatCode>General</c:formatCode>
                <c:ptCount val="1"/>
                <c:pt idx="0">
                  <c:v>6669.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c:v>
                </c:pt>
              </c:strCache>
            </c:strRef>
          </c:cat>
          <c:val>
            <c:numRef>
              <c:f>Sheet1!$E$2:$E$2</c:f>
              <c:numCache>
                <c:formatCode>General</c:formatCode>
                <c:ptCount val="1"/>
                <c:pt idx="0">
                  <c:v>1119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c:v>
                </c:pt>
              </c:strCache>
            </c:strRef>
          </c:cat>
          <c:val>
            <c:numRef>
              <c:f>Sheet1!$F$2:$F$2</c:f>
              <c:numCache>
                <c:formatCode>General</c:formatCode>
                <c:ptCount val="1"/>
                <c:pt idx="0">
                  <c:v>8056.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199.0979"/>
          <c:min val="1281.377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B$2:$B$2</c:f>
              <c:numCache>
                <c:formatCode>General</c:formatCode>
                <c:ptCount val="1"/>
                <c:pt idx="0">
                  <c:v>4291.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1</a:t>
                    </a:r>
                  </a:p>
                  <a:p>
                    <a:r>
                      <a:t>1432.4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C$2:$C$2</c:f>
              <c:numCache>
                <c:formatCode>General</c:formatCode>
                <c:ptCount val="1"/>
                <c:pt idx="0">
                  <c:v>1432.4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D$2:$D$2</c:f>
              <c:numCache>
                <c:formatCode>General</c:formatCode>
                <c:ptCount val="1"/>
                <c:pt idx="0">
                  <c:v>6669.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E$2:$E$2</c:f>
              <c:numCache>
                <c:formatCode>General</c:formatCode>
                <c:ptCount val="1"/>
                <c:pt idx="0">
                  <c:v>1119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F$2:$F$2</c:f>
              <c:numCache>
                <c:formatCode>General</c:formatCode>
                <c:ptCount val="1"/>
                <c:pt idx="0">
                  <c:v>8056.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199.0979"/>
          <c:min val="1431.987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3</c:v>
                </c:pt>
              </c:strCache>
            </c:strRef>
          </c:cat>
          <c:val>
            <c:numRef>
              <c:f>Sheet1!$B$2:$B$2</c:f>
              <c:numCache>
                <c:formatCode>General</c:formatCode>
                <c:ptCount val="1"/>
                <c:pt idx="0">
                  <c:v>4291.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73</a:t>
                    </a:r>
                  </a:p>
                  <a:p>
                    <a:r>
                      <a:t>11522.4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3</c:v>
                </c:pt>
              </c:strCache>
            </c:strRef>
          </c:cat>
          <c:val>
            <c:numRef>
              <c:f>Sheet1!$C$2:$C$2</c:f>
              <c:numCache>
                <c:formatCode>General</c:formatCode>
                <c:ptCount val="1"/>
                <c:pt idx="0">
                  <c:v>11522.4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3</c:v>
                </c:pt>
              </c:strCache>
            </c:strRef>
          </c:cat>
          <c:val>
            <c:numRef>
              <c:f>Sheet1!$D$2:$D$2</c:f>
              <c:numCache>
                <c:formatCode>General</c:formatCode>
                <c:ptCount val="1"/>
                <c:pt idx="0">
                  <c:v>6669.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3</c:v>
                </c:pt>
              </c:strCache>
            </c:strRef>
          </c:cat>
          <c:val>
            <c:numRef>
              <c:f>Sheet1!$E$2:$E$2</c:f>
              <c:numCache>
                <c:formatCode>General</c:formatCode>
                <c:ptCount val="1"/>
                <c:pt idx="0">
                  <c:v>1119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3</c:v>
                </c:pt>
              </c:strCache>
            </c:strRef>
          </c:cat>
          <c:val>
            <c:numRef>
              <c:f>Sheet1!$F$2:$F$2</c:f>
              <c:numCache>
                <c:formatCode>General</c:formatCode>
                <c:ptCount val="1"/>
                <c:pt idx="0">
                  <c:v>8056.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522.9348"/>
          <c:min val="4291.237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B$2:$B$2</c:f>
              <c:numCache>
                <c:formatCode>General</c:formatCode>
                <c:ptCount val="1"/>
                <c:pt idx="0">
                  <c:v>1337.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1</a:t>
                    </a:r>
                  </a:p>
                  <a:p>
                    <a:r>
                      <a:t>1074.4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C$2:$C$2</c:f>
              <c:numCache>
                <c:formatCode>General</c:formatCode>
                <c:ptCount val="1"/>
                <c:pt idx="0">
                  <c:v>1074.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D$2:$D$2</c:f>
              <c:numCache>
                <c:formatCode>General</c:formatCode>
                <c:ptCount val="1"/>
                <c:pt idx="0">
                  <c:v>1748.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E$2:$E$2</c:f>
              <c:numCache>
                <c:formatCode>General</c:formatCode>
                <c:ptCount val="1"/>
                <c:pt idx="0">
                  <c:v>4787.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F$2:$F$2</c:f>
              <c:numCache>
                <c:formatCode>General</c:formatCode>
                <c:ptCount val="1"/>
                <c:pt idx="0">
                  <c:v>646.3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87.5803"/>
          <c:min val="645.84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7</c:v>
                </c:pt>
              </c:strCache>
            </c:strRef>
          </c:cat>
          <c:val>
            <c:numRef>
              <c:f>Sheet1!$B$2:$B$2</c:f>
              <c:numCache>
                <c:formatCode>General</c:formatCode>
                <c:ptCount val="1"/>
                <c:pt idx="0">
                  <c:v>1337.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1179.2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7</c:v>
                </c:pt>
              </c:strCache>
            </c:strRef>
          </c:cat>
          <c:val>
            <c:numRef>
              <c:f>Sheet1!$C$2:$C$2</c:f>
              <c:numCache>
                <c:formatCode>General</c:formatCode>
                <c:ptCount val="1"/>
                <c:pt idx="0">
                  <c:v>1179.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7</c:v>
                </c:pt>
              </c:strCache>
            </c:strRef>
          </c:cat>
          <c:val>
            <c:numRef>
              <c:f>Sheet1!$D$2:$D$2</c:f>
              <c:numCache>
                <c:formatCode>General</c:formatCode>
                <c:ptCount val="1"/>
                <c:pt idx="0">
                  <c:v>1748.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7</c:v>
                </c:pt>
              </c:strCache>
            </c:strRef>
          </c:cat>
          <c:val>
            <c:numRef>
              <c:f>Sheet1!$E$2:$E$2</c:f>
              <c:numCache>
                <c:formatCode>General</c:formatCode>
                <c:ptCount val="1"/>
                <c:pt idx="0">
                  <c:v>4787.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7</c:v>
                </c:pt>
              </c:strCache>
            </c:strRef>
          </c:cat>
          <c:val>
            <c:numRef>
              <c:f>Sheet1!$F$2:$F$2</c:f>
              <c:numCache>
                <c:formatCode>General</c:formatCode>
                <c:ptCount val="1"/>
                <c:pt idx="0">
                  <c:v>646.3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87.5803"/>
          <c:min val="645.84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B$2:$B$2</c:f>
              <c:numCache>
                <c:formatCode>General</c:formatCode>
                <c:ptCount val="1"/>
                <c:pt idx="0">
                  <c:v>1337.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8</a:t>
                    </a:r>
                  </a:p>
                  <a:p>
                    <a:r>
                      <a:t>1715.6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C$2:$C$2</c:f>
              <c:numCache>
                <c:formatCode>General</c:formatCode>
                <c:ptCount val="1"/>
                <c:pt idx="0">
                  <c:v>1715.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D$2:$D$2</c:f>
              <c:numCache>
                <c:formatCode>General</c:formatCode>
                <c:ptCount val="1"/>
                <c:pt idx="0">
                  <c:v>1748.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E$2:$E$2</c:f>
              <c:numCache>
                <c:formatCode>General</c:formatCode>
                <c:ptCount val="1"/>
                <c:pt idx="0">
                  <c:v>4787.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F$2:$F$2</c:f>
              <c:numCache>
                <c:formatCode>General</c:formatCode>
                <c:ptCount val="1"/>
                <c:pt idx="0">
                  <c:v>646.3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87.5803"/>
          <c:min val="645.84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B$2:$B$2</c:f>
              <c:numCache>
                <c:formatCode>General</c:formatCode>
                <c:ptCount val="1"/>
                <c:pt idx="0">
                  <c:v>1619.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10.8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C$2:$C$2</c:f>
              <c:numCache>
                <c:formatCode>General</c:formatCode>
                <c:ptCount val="1"/>
                <c:pt idx="0">
                  <c:v>1210.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D$2:$D$2</c:f>
              <c:numCache>
                <c:formatCode>General</c:formatCode>
                <c:ptCount val="1"/>
                <c:pt idx="0">
                  <c:v>1668.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E$2:$E$2</c:f>
              <c:numCache>
                <c:formatCode>General</c:formatCode>
                <c:ptCount val="1"/>
                <c:pt idx="0">
                  <c:v>9899.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F$2:$F$2</c:f>
              <c:numCache>
                <c:formatCode>General</c:formatCode>
                <c:ptCount val="1"/>
                <c:pt idx="0">
                  <c:v>6699.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99.5785"/>
          <c:min val="1210.333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B$2:$B$2</c:f>
              <c:numCache>
                <c:formatCode>General</c:formatCode>
                <c:ptCount val="1"/>
                <c:pt idx="0">
                  <c:v>1619.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16.7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C$2:$C$2</c:f>
              <c:numCache>
                <c:formatCode>General</c:formatCode>
                <c:ptCount val="1"/>
                <c:pt idx="0">
                  <c:v>1216.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D$2:$D$2</c:f>
              <c:numCache>
                <c:formatCode>General</c:formatCode>
                <c:ptCount val="1"/>
                <c:pt idx="0">
                  <c:v>1668.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E$2:$E$2</c:f>
              <c:numCache>
                <c:formatCode>General</c:formatCode>
                <c:ptCount val="1"/>
                <c:pt idx="0">
                  <c:v>9899.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F$2:$F$2</c:f>
              <c:numCache>
                <c:formatCode>General</c:formatCode>
                <c:ptCount val="1"/>
                <c:pt idx="0">
                  <c:v>6699.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99.5785"/>
          <c:min val="1216.25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B$2:$B$2</c:f>
              <c:numCache>
                <c:formatCode>General</c:formatCode>
                <c:ptCount val="1"/>
                <c:pt idx="0">
                  <c:v>2482.5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1268.8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C$2:$C$2</c:f>
              <c:numCache>
                <c:formatCode>General</c:formatCode>
                <c:ptCount val="1"/>
                <c:pt idx="0">
                  <c:v>1268.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D$2:$D$2</c:f>
              <c:numCache>
                <c:formatCode>General</c:formatCode>
                <c:ptCount val="1"/>
                <c:pt idx="0">
                  <c:v>2222.3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E$2:$E$2</c:f>
              <c:numCache>
                <c:formatCode>General</c:formatCode>
                <c:ptCount val="1"/>
                <c:pt idx="0">
                  <c:v>8569.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F$2:$F$2</c:f>
              <c:numCache>
                <c:formatCode>General</c:formatCode>
                <c:ptCount val="1"/>
                <c:pt idx="0">
                  <c:v>7765.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569.822"/>
          <c:min val="1268.332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1</c:v>
                </c:pt>
              </c:strCache>
            </c:strRef>
          </c:cat>
          <c:val>
            <c:numRef>
              <c:f>Sheet1!$B$2:$B$2</c:f>
              <c:numCache>
                <c:formatCode>General</c:formatCode>
                <c:ptCount val="1"/>
                <c:pt idx="0">
                  <c:v>1619.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41</a:t>
                    </a:r>
                  </a:p>
                  <a:p>
                    <a:r>
                      <a:t>4025.5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1</c:v>
                </c:pt>
              </c:strCache>
            </c:strRef>
          </c:cat>
          <c:val>
            <c:numRef>
              <c:f>Sheet1!$C$2:$C$2</c:f>
              <c:numCache>
                <c:formatCode>General</c:formatCode>
                <c:ptCount val="1"/>
                <c:pt idx="0">
                  <c:v>4025.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1</c:v>
                </c:pt>
              </c:strCache>
            </c:strRef>
          </c:cat>
          <c:val>
            <c:numRef>
              <c:f>Sheet1!$D$2:$D$2</c:f>
              <c:numCache>
                <c:formatCode>General</c:formatCode>
                <c:ptCount val="1"/>
                <c:pt idx="0">
                  <c:v>1668.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1</c:v>
                </c:pt>
              </c:strCache>
            </c:strRef>
          </c:cat>
          <c:val>
            <c:numRef>
              <c:f>Sheet1!$E$2:$E$2</c:f>
              <c:numCache>
                <c:formatCode>General</c:formatCode>
                <c:ptCount val="1"/>
                <c:pt idx="0">
                  <c:v>9899.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1</c:v>
                </c:pt>
              </c:strCache>
            </c:strRef>
          </c:cat>
          <c:val>
            <c:numRef>
              <c:f>Sheet1!$F$2:$F$2</c:f>
              <c:numCache>
                <c:formatCode>General</c:formatCode>
                <c:ptCount val="1"/>
                <c:pt idx="0">
                  <c:v>6699.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99.5785"/>
          <c:min val="1618.91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B$2:$B$2</c:f>
              <c:numCache>
                <c:formatCode>General</c:formatCode>
                <c:ptCount val="1"/>
                <c:pt idx="0">
                  <c:v>2597.8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1376.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C$2:$C$2</c:f>
              <c:numCache>
                <c:formatCode>General</c:formatCode>
                <c:ptCount val="1"/>
                <c:pt idx="0">
                  <c:v>1376.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D$2:$D$2</c:f>
              <c:numCache>
                <c:formatCode>General</c:formatCode>
                <c:ptCount val="1"/>
                <c:pt idx="0">
                  <c:v>2405.0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E$2:$E$2</c:f>
              <c:numCache>
                <c:formatCode>General</c:formatCode>
                <c:ptCount val="1"/>
                <c:pt idx="0">
                  <c:v>8762.8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F$2:$F$2</c:f>
              <c:numCache>
                <c:formatCode>General</c:formatCode>
                <c:ptCount val="1"/>
                <c:pt idx="0">
                  <c:v>8029.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63.3456"/>
          <c:min val="1375.52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8</c:v>
                </c:pt>
              </c:strCache>
            </c:strRef>
          </c:cat>
          <c:val>
            <c:numRef>
              <c:f>Sheet1!$B$2:$B$2</c:f>
              <c:numCache>
                <c:formatCode>General</c:formatCode>
                <c:ptCount val="1"/>
                <c:pt idx="0">
                  <c:v>2640.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8</a:t>
                    </a:r>
                  </a:p>
                  <a:p>
                    <a:r>
                      <a:t>1412.6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8</c:v>
                </c:pt>
              </c:strCache>
            </c:strRef>
          </c:cat>
          <c:val>
            <c:numRef>
              <c:f>Sheet1!$C$2:$C$2</c:f>
              <c:numCache>
                <c:formatCode>General</c:formatCode>
                <c:ptCount val="1"/>
                <c:pt idx="0">
                  <c:v>1412.6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8</c:v>
                </c:pt>
              </c:strCache>
            </c:strRef>
          </c:cat>
          <c:val>
            <c:numRef>
              <c:f>Sheet1!$D$2:$D$2</c:f>
              <c:numCache>
                <c:formatCode>General</c:formatCode>
                <c:ptCount val="1"/>
                <c:pt idx="0">
                  <c:v>2443.7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8</c:v>
                </c:pt>
              </c:strCache>
            </c:strRef>
          </c:cat>
          <c:val>
            <c:numRef>
              <c:f>Sheet1!$E$2:$E$2</c:f>
              <c:numCache>
                <c:formatCode>General</c:formatCode>
                <c:ptCount val="1"/>
                <c:pt idx="0">
                  <c:v>8768.0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8</c:v>
                </c:pt>
              </c:strCache>
            </c:strRef>
          </c:cat>
          <c:val>
            <c:numRef>
              <c:f>Sheet1!$F$2:$F$2</c:f>
              <c:numCache>
                <c:formatCode>General</c:formatCode>
                <c:ptCount val="1"/>
                <c:pt idx="0">
                  <c:v>7752.3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68.5741"/>
          <c:min val="1412.11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0</c:v>
                </c:pt>
              </c:strCache>
            </c:strRef>
          </c:cat>
          <c:val>
            <c:numRef>
              <c:f>Sheet1!$B$2:$B$2</c:f>
              <c:numCache>
                <c:formatCode>General</c:formatCode>
                <c:ptCount val="1"/>
                <c:pt idx="0">
                  <c:v>4346.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0</a:t>
                    </a:r>
                  </a:p>
                  <a:p>
                    <a:r>
                      <a:t>1485.6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0</c:v>
                </c:pt>
              </c:strCache>
            </c:strRef>
          </c:cat>
          <c:val>
            <c:numRef>
              <c:f>Sheet1!$C$2:$C$2</c:f>
              <c:numCache>
                <c:formatCode>General</c:formatCode>
                <c:ptCount val="1"/>
                <c:pt idx="0">
                  <c:v>1485.6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0</c:v>
                </c:pt>
              </c:strCache>
            </c:strRef>
          </c:cat>
          <c:val>
            <c:numRef>
              <c:f>Sheet1!$D$2:$D$2</c:f>
              <c:numCache>
                <c:formatCode>General</c:formatCode>
                <c:ptCount val="1"/>
                <c:pt idx="0">
                  <c:v>3700.5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0</c:v>
                </c:pt>
              </c:strCache>
            </c:strRef>
          </c:cat>
          <c:val>
            <c:numRef>
              <c:f>Sheet1!$E$2:$E$2</c:f>
              <c:numCache>
                <c:formatCode>General</c:formatCode>
                <c:ptCount val="1"/>
                <c:pt idx="0">
                  <c:v>9462.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0</c:v>
                </c:pt>
              </c:strCache>
            </c:strRef>
          </c:cat>
          <c:val>
            <c:numRef>
              <c:f>Sheet1!$F$2:$F$2</c:f>
              <c:numCache>
                <c:formatCode>General</c:formatCode>
                <c:ptCount val="1"/>
                <c:pt idx="0">
                  <c:v>7926.5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463.4821"/>
          <c:min val="1485.13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B$2:$B$2</c:f>
              <c:numCache>
                <c:formatCode>General</c:formatCode>
                <c:ptCount val="1"/>
                <c:pt idx="0">
                  <c:v>1429.2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1240.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C$2:$C$2</c:f>
              <c:numCache>
                <c:formatCode>General</c:formatCode>
                <c:ptCount val="1"/>
                <c:pt idx="0">
                  <c:v>1240.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D$2:$D$2</c:f>
              <c:numCache>
                <c:formatCode>General</c:formatCode>
                <c:ptCount val="1"/>
                <c:pt idx="0">
                  <c:v>1747.7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E$2:$E$2</c:f>
              <c:numCache>
                <c:formatCode>General</c:formatCode>
                <c:ptCount val="1"/>
                <c:pt idx="0">
                  <c:v>5352.0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Total Care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F$2:$F$2</c:f>
              <c:numCache>
                <c:formatCode>General</c:formatCode>
                <c:ptCount val="1"/>
                <c:pt idx="0">
                  <c:v>673.8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52.5875"/>
          <c:min val="673.30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B$2:$B$2</c:f>
              <c:numCache>
                <c:formatCode>General</c:formatCode>
                <c:ptCount val="1"/>
                <c:pt idx="0">
                  <c:v>1832.0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96.0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C$2:$C$2</c:f>
              <c:numCache>
                <c:formatCode>General</c:formatCode>
                <c:ptCount val="1"/>
                <c:pt idx="0">
                  <c:v>1396.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D$2:$D$2</c:f>
              <c:numCache>
                <c:formatCode>General</c:formatCode>
                <c:ptCount val="1"/>
                <c:pt idx="0">
                  <c:v>2014.7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E$2:$E$2</c:f>
              <c:numCache>
                <c:formatCode>General</c:formatCode>
                <c:ptCount val="1"/>
                <c:pt idx="0">
                  <c:v>7631.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F$2:$F$2</c:f>
              <c:numCache>
                <c:formatCode>General</c:formatCode>
                <c:ptCount val="1"/>
                <c:pt idx="0">
                  <c:v>7402.4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632.2308"/>
          <c:min val="1395.58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B$2:$B$2</c:f>
              <c:numCache>
                <c:formatCode>General</c:formatCode>
                <c:ptCount val="1"/>
                <c:pt idx="0">
                  <c:v>2595.4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1317.4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C$2:$C$2</c:f>
              <c:numCache>
                <c:formatCode>General</c:formatCode>
                <c:ptCount val="1"/>
                <c:pt idx="0">
                  <c:v>1317.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D$2:$D$2</c:f>
              <c:numCache>
                <c:formatCode>General</c:formatCode>
                <c:ptCount val="1"/>
                <c:pt idx="0">
                  <c:v>1943.4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E$2:$E$2</c:f>
              <c:numCache>
                <c:formatCode>General</c:formatCode>
                <c:ptCount val="1"/>
                <c:pt idx="0">
                  <c:v>10715.0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F$2:$F$2</c:f>
              <c:numCache>
                <c:formatCode>General</c:formatCode>
                <c:ptCount val="1"/>
                <c:pt idx="0">
                  <c:v>8028.5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715.5746"/>
          <c:min val="1316.97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B$2:$B$2</c:f>
              <c:numCache>
                <c:formatCode>General</c:formatCode>
                <c:ptCount val="1"/>
                <c:pt idx="0">
                  <c:v>2595.4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1388.8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C$2:$C$2</c:f>
              <c:numCache>
                <c:formatCode>General</c:formatCode>
                <c:ptCount val="1"/>
                <c:pt idx="0">
                  <c:v>1388.8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D$2:$D$2</c:f>
              <c:numCache>
                <c:formatCode>General</c:formatCode>
                <c:ptCount val="1"/>
                <c:pt idx="0">
                  <c:v>1943.4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E$2:$E$2</c:f>
              <c:numCache>
                <c:formatCode>General</c:formatCode>
                <c:ptCount val="1"/>
                <c:pt idx="0">
                  <c:v>10715.0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F$2:$F$2</c:f>
              <c:numCache>
                <c:formatCode>General</c:formatCode>
                <c:ptCount val="1"/>
                <c:pt idx="0">
                  <c:v>8028.5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715.5746"/>
          <c:min val="1388.33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2</c:v>
                </c:pt>
              </c:strCache>
            </c:strRef>
          </c:cat>
          <c:val>
            <c:numRef>
              <c:f>Sheet1!$B$2:$B$2</c:f>
              <c:numCache>
                <c:formatCode>General</c:formatCode>
                <c:ptCount val="1"/>
                <c:pt idx="0">
                  <c:v>2595.4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42</a:t>
                    </a:r>
                  </a:p>
                  <a:p>
                    <a:r>
                      <a:t>4702.2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2</c:v>
                </c:pt>
              </c:strCache>
            </c:strRef>
          </c:cat>
          <c:val>
            <c:numRef>
              <c:f>Sheet1!$C$2:$C$2</c:f>
              <c:numCache>
                <c:formatCode>General</c:formatCode>
                <c:ptCount val="1"/>
                <c:pt idx="0">
                  <c:v>4702.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2</c:v>
                </c:pt>
              </c:strCache>
            </c:strRef>
          </c:cat>
          <c:val>
            <c:numRef>
              <c:f>Sheet1!$D$2:$D$2</c:f>
              <c:numCache>
                <c:formatCode>General</c:formatCode>
                <c:ptCount val="1"/>
                <c:pt idx="0">
                  <c:v>1943.4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2</c:v>
                </c:pt>
              </c:strCache>
            </c:strRef>
          </c:cat>
          <c:val>
            <c:numRef>
              <c:f>Sheet1!$E$2:$E$2</c:f>
              <c:numCache>
                <c:formatCode>General</c:formatCode>
                <c:ptCount val="1"/>
                <c:pt idx="0">
                  <c:v>10715.0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2</c:v>
                </c:pt>
              </c:strCache>
            </c:strRef>
          </c:cat>
          <c:val>
            <c:numRef>
              <c:f>Sheet1!$F$2:$F$2</c:f>
              <c:numCache>
                <c:formatCode>General</c:formatCode>
                <c:ptCount val="1"/>
                <c:pt idx="0">
                  <c:v>8028.5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715.5746"/>
          <c:min val="1942.92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B$2:$B$2</c:f>
              <c:numCache>
                <c:formatCode>General</c:formatCode>
                <c:ptCount val="1"/>
                <c:pt idx="0">
                  <c:v>2637.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1345.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C$2:$C$2</c:f>
              <c:numCache>
                <c:formatCode>General</c:formatCode>
                <c:ptCount val="1"/>
                <c:pt idx="0">
                  <c:v>1345.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D$2:$D$2</c:f>
              <c:numCache>
                <c:formatCode>General</c:formatCode>
                <c:ptCount val="1"/>
                <c:pt idx="0">
                  <c:v>198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E$2:$E$2</c:f>
              <c:numCache>
                <c:formatCode>General</c:formatCode>
                <c:ptCount val="1"/>
                <c:pt idx="0">
                  <c:v>10849.0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F$2:$F$2</c:f>
              <c:numCache>
                <c:formatCode>General</c:formatCode>
                <c:ptCount val="1"/>
                <c:pt idx="0">
                  <c:v>7748.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849.5739"/>
          <c:min val="1344.661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8</c:v>
                </c:pt>
              </c:strCache>
            </c:strRef>
          </c:cat>
          <c:val>
            <c:numRef>
              <c:f>Sheet1!$B$2:$B$2</c:f>
              <c:numCache>
                <c:formatCode>General</c:formatCode>
                <c:ptCount val="1"/>
                <c:pt idx="0">
                  <c:v>4291.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8</a:t>
                    </a:r>
                  </a:p>
                  <a:p>
                    <a:r>
                      <a:t>1353.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8</c:v>
                </c:pt>
              </c:strCache>
            </c:strRef>
          </c:cat>
          <c:val>
            <c:numRef>
              <c:f>Sheet1!$C$2:$C$2</c:f>
              <c:numCache>
                <c:formatCode>General</c:formatCode>
                <c:ptCount val="1"/>
                <c:pt idx="0">
                  <c:v>1353.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8</c:v>
                </c:pt>
              </c:strCache>
            </c:strRef>
          </c:cat>
          <c:val>
            <c:numRef>
              <c:f>Sheet1!$D$2:$D$2</c:f>
              <c:numCache>
                <c:formatCode>General</c:formatCode>
                <c:ptCount val="1"/>
                <c:pt idx="0">
                  <c:v>3583.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8</c:v>
                </c:pt>
              </c:strCache>
            </c:strRef>
          </c:cat>
          <c:val>
            <c:numRef>
              <c:f>Sheet1!$E$2:$E$2</c:f>
              <c:numCache>
                <c:formatCode>General</c:formatCode>
                <c:ptCount val="1"/>
                <c:pt idx="0">
                  <c:v>9562.3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8</c:v>
                </c:pt>
              </c:strCache>
            </c:strRef>
          </c:cat>
          <c:val>
            <c:numRef>
              <c:f>Sheet1!$F$2:$F$2</c:f>
              <c:numCache>
                <c:formatCode>General</c:formatCode>
                <c:ptCount val="1"/>
                <c:pt idx="0">
                  <c:v>8056.7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562.8727"/>
          <c:min val="1352.87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B$2:$B$2</c:f>
              <c:numCache>
                <c:formatCode>General</c:formatCode>
                <c:ptCount val="1"/>
                <c:pt idx="0">
                  <c:v>2637.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429.7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C$2:$C$2</c:f>
              <c:numCache>
                <c:formatCode>General</c:formatCode>
                <c:ptCount val="1"/>
                <c:pt idx="0">
                  <c:v>1429.7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D$2:$D$2</c:f>
              <c:numCache>
                <c:formatCode>General</c:formatCode>
                <c:ptCount val="1"/>
                <c:pt idx="0">
                  <c:v>198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E$2:$E$2</c:f>
              <c:numCache>
                <c:formatCode>General</c:formatCode>
                <c:ptCount val="1"/>
                <c:pt idx="0">
                  <c:v>10849.0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F$2:$F$2</c:f>
              <c:numCache>
                <c:formatCode>General</c:formatCode>
                <c:ptCount val="1"/>
                <c:pt idx="0">
                  <c:v>7748.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849.5739"/>
          <c:min val="1429.26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5</c:v>
                </c:pt>
              </c:strCache>
            </c:strRef>
          </c:cat>
          <c:val>
            <c:numRef>
              <c:f>Sheet1!$B$2:$B$2</c:f>
              <c:numCache>
                <c:formatCode>General</c:formatCode>
                <c:ptCount val="1"/>
                <c:pt idx="0">
                  <c:v>2637.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5</a:t>
                    </a:r>
                  </a:p>
                  <a:p>
                    <a:r>
                      <a:t>5054.0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5</c:v>
                </c:pt>
              </c:strCache>
            </c:strRef>
          </c:cat>
          <c:val>
            <c:numRef>
              <c:f>Sheet1!$C$2:$C$2</c:f>
              <c:numCache>
                <c:formatCode>General</c:formatCode>
                <c:ptCount val="1"/>
                <c:pt idx="0">
                  <c:v>5054.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5</c:v>
                </c:pt>
              </c:strCache>
            </c:strRef>
          </c:cat>
          <c:val>
            <c:numRef>
              <c:f>Sheet1!$D$2:$D$2</c:f>
              <c:numCache>
                <c:formatCode>General</c:formatCode>
                <c:ptCount val="1"/>
                <c:pt idx="0">
                  <c:v>198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5</c:v>
                </c:pt>
              </c:strCache>
            </c:strRef>
          </c:cat>
          <c:val>
            <c:numRef>
              <c:f>Sheet1!$E$2:$E$2</c:f>
              <c:numCache>
                <c:formatCode>General</c:formatCode>
                <c:ptCount val="1"/>
                <c:pt idx="0">
                  <c:v>10849.0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5</c:v>
                </c:pt>
              </c:strCache>
            </c:strRef>
          </c:cat>
          <c:val>
            <c:numRef>
              <c:f>Sheet1!$F$2:$F$2</c:f>
              <c:numCache>
                <c:formatCode>General</c:formatCode>
                <c:ptCount val="1"/>
                <c:pt idx="0">
                  <c:v>7748.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849.5739"/>
          <c:min val="1980.91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B$2:$B$2</c:f>
              <c:numCache>
                <c:formatCode>General</c:formatCode>
                <c:ptCount val="1"/>
                <c:pt idx="0">
                  <c:v>4347.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1</a:t>
                    </a:r>
                  </a:p>
                  <a:p>
                    <a:r>
                      <a:t>1381.8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C$2:$C$2</c:f>
              <c:numCache>
                <c:formatCode>General</c:formatCode>
                <c:ptCount val="1"/>
                <c:pt idx="0">
                  <c:v>138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D$2:$D$2</c:f>
              <c:numCache>
                <c:formatCode>General</c:formatCode>
                <c:ptCount val="1"/>
                <c:pt idx="0">
                  <c:v>6672.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E$2:$E$2</c:f>
              <c:numCache>
                <c:formatCode>General</c:formatCode>
                <c:ptCount val="1"/>
                <c:pt idx="0">
                  <c:v>11030.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F$2:$F$2</c:f>
              <c:numCache>
                <c:formatCode>General</c:formatCode>
                <c:ptCount val="1"/>
                <c:pt idx="0">
                  <c:v>7933.8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031.4003"/>
          <c:min val="1381.32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c:v>
                </c:pt>
              </c:strCache>
            </c:strRef>
          </c:cat>
          <c:val>
            <c:numRef>
              <c:f>Sheet1!$B$2:$B$2</c:f>
              <c:numCache>
                <c:formatCode>General</c:formatCode>
                <c:ptCount val="1"/>
                <c:pt idx="0">
                  <c:v>4347.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4</a:t>
                    </a:r>
                  </a:p>
                  <a:p>
                    <a:r>
                      <a:t>1599.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c:v>
                </c:pt>
              </c:strCache>
            </c:strRef>
          </c:cat>
          <c:val>
            <c:numRef>
              <c:f>Sheet1!$C$2:$C$2</c:f>
              <c:numCache>
                <c:formatCode>General</c:formatCode>
                <c:ptCount val="1"/>
                <c:pt idx="0">
                  <c:v>159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c:v>
                </c:pt>
              </c:strCache>
            </c:strRef>
          </c:cat>
          <c:val>
            <c:numRef>
              <c:f>Sheet1!$D$2:$D$2</c:f>
              <c:numCache>
                <c:formatCode>General</c:formatCode>
                <c:ptCount val="1"/>
                <c:pt idx="0">
                  <c:v>6672.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c:v>
                </c:pt>
              </c:strCache>
            </c:strRef>
          </c:cat>
          <c:val>
            <c:numRef>
              <c:f>Sheet1!$E$2:$E$2</c:f>
              <c:numCache>
                <c:formatCode>General</c:formatCode>
                <c:ptCount val="1"/>
                <c:pt idx="0">
                  <c:v>11030.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c:v>
                </c:pt>
              </c:strCache>
            </c:strRef>
          </c:cat>
          <c:val>
            <c:numRef>
              <c:f>Sheet1!$F$2:$F$2</c:f>
              <c:numCache>
                <c:formatCode>General</c:formatCode>
                <c:ptCount val="1"/>
                <c:pt idx="0">
                  <c:v>7933.8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031.4003"/>
          <c:min val="1599.29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1</c:v>
                </c:pt>
              </c:strCache>
            </c:strRef>
          </c:cat>
          <c:val>
            <c:numRef>
              <c:f>Sheet1!$B$2:$B$2</c:f>
              <c:numCache>
                <c:formatCode>General</c:formatCode>
                <c:ptCount val="1"/>
                <c:pt idx="0">
                  <c:v>4347.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1</a:t>
                    </a:r>
                  </a:p>
                  <a:p>
                    <a:r>
                      <a:t>22101.2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1</c:v>
                </c:pt>
              </c:strCache>
            </c:strRef>
          </c:cat>
          <c:val>
            <c:numRef>
              <c:f>Sheet1!$C$2:$C$2</c:f>
              <c:numCache>
                <c:formatCode>General</c:formatCode>
                <c:ptCount val="1"/>
                <c:pt idx="0">
                  <c:v>22101.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1</c:v>
                </c:pt>
              </c:strCache>
            </c:strRef>
          </c:cat>
          <c:val>
            <c:numRef>
              <c:f>Sheet1!$D$2:$D$2</c:f>
              <c:numCache>
                <c:formatCode>General</c:formatCode>
                <c:ptCount val="1"/>
                <c:pt idx="0">
                  <c:v>6672.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1</c:v>
                </c:pt>
              </c:strCache>
            </c:strRef>
          </c:cat>
          <c:val>
            <c:numRef>
              <c:f>Sheet1!$E$2:$E$2</c:f>
              <c:numCache>
                <c:formatCode>General</c:formatCode>
                <c:ptCount val="1"/>
                <c:pt idx="0">
                  <c:v>11030.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1</c:v>
                </c:pt>
              </c:strCache>
            </c:strRef>
          </c:cat>
          <c:val>
            <c:numRef>
              <c:f>Sheet1!$F$2:$F$2</c:f>
              <c:numCache>
                <c:formatCode>General</c:formatCode>
                <c:ptCount val="1"/>
                <c:pt idx="0">
                  <c:v>7933.8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101.7813"/>
          <c:min val="4346.84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B$2:$B$2</c:f>
              <c:numCache>
                <c:formatCode>General</c:formatCode>
                <c:ptCount val="1"/>
                <c:pt idx="0">
                  <c:v>1428.8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1230.6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C$2:$C$2</c:f>
              <c:numCache>
                <c:formatCode>General</c:formatCode>
                <c:ptCount val="1"/>
                <c:pt idx="0">
                  <c:v>1230.6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D$2:$D$2</c:f>
              <c:numCache>
                <c:formatCode>General</c:formatCode>
                <c:ptCount val="1"/>
                <c:pt idx="0">
                  <c:v>1735.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E$2:$E$2</c:f>
              <c:numCache>
                <c:formatCode>General</c:formatCode>
                <c:ptCount val="1"/>
                <c:pt idx="0">
                  <c:v>5352.0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F$2:$F$2</c:f>
              <c:numCache>
                <c:formatCode>General</c:formatCode>
                <c:ptCount val="1"/>
                <c:pt idx="0">
                  <c:v>764.7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52.5875"/>
          <c:min val="764.23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B$2:$B$2</c:f>
              <c:numCache>
                <c:formatCode>General</c:formatCode>
                <c:ptCount val="1"/>
                <c:pt idx="0">
                  <c:v>1428.8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249.4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C$2:$C$2</c:f>
              <c:numCache>
                <c:formatCode>General</c:formatCode>
                <c:ptCount val="1"/>
                <c:pt idx="0">
                  <c:v>1249.4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D$2:$D$2</c:f>
              <c:numCache>
                <c:formatCode>General</c:formatCode>
                <c:ptCount val="1"/>
                <c:pt idx="0">
                  <c:v>1735.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E$2:$E$2</c:f>
              <c:numCache>
                <c:formatCode>General</c:formatCode>
                <c:ptCount val="1"/>
                <c:pt idx="0">
                  <c:v>5352.0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F$2:$F$2</c:f>
              <c:numCache>
                <c:formatCode>General</c:formatCode>
                <c:ptCount val="1"/>
                <c:pt idx="0">
                  <c:v>764.7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52.5875"/>
          <c:min val="764.23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B$2:$B$2</c:f>
              <c:numCache>
                <c:formatCode>General</c:formatCode>
                <c:ptCount val="1"/>
                <c:pt idx="0">
                  <c:v>1428.8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9</a:t>
                    </a:r>
                  </a:p>
                  <a:p>
                    <a:r>
                      <a:t>1712.6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C$2:$C$2</c:f>
              <c:numCache>
                <c:formatCode>General</c:formatCode>
                <c:ptCount val="1"/>
                <c:pt idx="0">
                  <c:v>1712.6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D$2:$D$2</c:f>
              <c:numCache>
                <c:formatCode>General</c:formatCode>
                <c:ptCount val="1"/>
                <c:pt idx="0">
                  <c:v>1735.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E$2:$E$2</c:f>
              <c:numCache>
                <c:formatCode>General</c:formatCode>
                <c:ptCount val="1"/>
                <c:pt idx="0">
                  <c:v>5352.0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F$2:$F$2</c:f>
              <c:numCache>
                <c:formatCode>General</c:formatCode>
                <c:ptCount val="1"/>
                <c:pt idx="0">
                  <c:v>764.7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52.5875"/>
          <c:min val="764.23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B$2:$B$2</c:f>
              <c:numCache>
                <c:formatCode>General</c:formatCode>
                <c:ptCount val="1"/>
                <c:pt idx="0">
                  <c:v>1828.6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340.5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C$2:$C$2</c:f>
              <c:numCache>
                <c:formatCode>General</c:formatCode>
                <c:ptCount val="1"/>
                <c:pt idx="0">
                  <c:v>1340.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D$2:$D$2</c:f>
              <c:numCache>
                <c:formatCode>General</c:formatCode>
                <c:ptCount val="1"/>
                <c:pt idx="0">
                  <c:v>1905.4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E$2:$E$2</c:f>
              <c:numCache>
                <c:formatCode>General</c:formatCode>
                <c:ptCount val="1"/>
                <c:pt idx="0">
                  <c:v>10734.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F$2:$F$2</c:f>
              <c:numCache>
                <c:formatCode>General</c:formatCode>
                <c:ptCount val="1"/>
                <c:pt idx="0">
                  <c:v>7379.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735.3948"/>
          <c:min val="1340.06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B$2:$B$2</c:f>
              <c:numCache>
                <c:formatCode>General</c:formatCode>
                <c:ptCount val="1"/>
                <c:pt idx="0">
                  <c:v>1828.6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379.5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C$2:$C$2</c:f>
              <c:numCache>
                <c:formatCode>General</c:formatCode>
                <c:ptCount val="1"/>
                <c:pt idx="0">
                  <c:v>1379.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D$2:$D$2</c:f>
              <c:numCache>
                <c:formatCode>General</c:formatCode>
                <c:ptCount val="1"/>
                <c:pt idx="0">
                  <c:v>1905.4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E$2:$E$2</c:f>
              <c:numCache>
                <c:formatCode>General</c:formatCode>
                <c:ptCount val="1"/>
                <c:pt idx="0">
                  <c:v>10734.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F$2:$F$2</c:f>
              <c:numCache>
                <c:formatCode>General</c:formatCode>
                <c:ptCount val="1"/>
                <c:pt idx="0">
                  <c:v>7379.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735.3948"/>
          <c:min val="1379.017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B$2:$B$2</c:f>
              <c:numCache>
                <c:formatCode>General</c:formatCode>
                <c:ptCount val="1"/>
                <c:pt idx="0">
                  <c:v>1337.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5</a:t>
                    </a:r>
                  </a:p>
                  <a:p>
                    <a:r>
                      <a:t>1144.4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C$2:$C$2</c:f>
              <c:numCache>
                <c:formatCode>General</c:formatCode>
                <c:ptCount val="1"/>
                <c:pt idx="0">
                  <c:v>1144.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D$2:$D$2</c:f>
              <c:numCache>
                <c:formatCode>General</c:formatCode>
                <c:ptCount val="1"/>
                <c:pt idx="0">
                  <c:v>1751.0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E$2:$E$2</c:f>
              <c:numCache>
                <c:formatCode>General</c:formatCode>
                <c:ptCount val="1"/>
                <c:pt idx="0">
                  <c:v>4787.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Total Care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F$2:$F$2</c:f>
              <c:numCache>
                <c:formatCode>General</c:formatCode>
                <c:ptCount val="1"/>
                <c:pt idx="0">
                  <c:v>577.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87.5803"/>
          <c:min val="577.154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7</c:v>
                </c:pt>
              </c:strCache>
            </c:strRef>
          </c:cat>
          <c:val>
            <c:numRef>
              <c:f>Sheet1!$B$2:$B$2</c:f>
              <c:numCache>
                <c:formatCode>General</c:formatCode>
                <c:ptCount val="1"/>
                <c:pt idx="0">
                  <c:v>1828.6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7</a:t>
                    </a:r>
                  </a:p>
                  <a:p>
                    <a:r>
                      <a:t>4900.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7</c:v>
                </c:pt>
              </c:strCache>
            </c:strRef>
          </c:cat>
          <c:val>
            <c:numRef>
              <c:f>Sheet1!$C$2:$C$2</c:f>
              <c:numCache>
                <c:formatCode>General</c:formatCode>
                <c:ptCount val="1"/>
                <c:pt idx="0">
                  <c:v>4900.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7</c:v>
                </c:pt>
              </c:strCache>
            </c:strRef>
          </c:cat>
          <c:val>
            <c:numRef>
              <c:f>Sheet1!$D$2:$D$2</c:f>
              <c:numCache>
                <c:formatCode>General</c:formatCode>
                <c:ptCount val="1"/>
                <c:pt idx="0">
                  <c:v>1905.4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7</c:v>
                </c:pt>
              </c:strCache>
            </c:strRef>
          </c:cat>
          <c:val>
            <c:numRef>
              <c:f>Sheet1!$E$2:$E$2</c:f>
              <c:numCache>
                <c:formatCode>General</c:formatCode>
                <c:ptCount val="1"/>
                <c:pt idx="0">
                  <c:v>10734.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7</c:v>
                </c:pt>
              </c:strCache>
            </c:strRef>
          </c:cat>
          <c:val>
            <c:numRef>
              <c:f>Sheet1!$F$2:$F$2</c:f>
              <c:numCache>
                <c:formatCode>General</c:formatCode>
                <c:ptCount val="1"/>
                <c:pt idx="0">
                  <c:v>7379.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735.3948"/>
          <c:min val="1828.125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5</c:v>
                </c:pt>
                <c:pt idx="2">
                  <c:v>IX 94</c:v>
                </c:pt>
                <c:pt idx="3">
                  <c:v/>
                </c:pt>
                <c:pt idx="4">
                  <c:v/>
                </c:pt>
                <c:pt idx="5">
                  <c:v/>
                </c:pt>
                <c:pt idx="6">
                  <c:v/>
                </c:pt>
                <c:pt idx="7">
                  <c:v>IX 100</c:v>
                </c:pt>
                <c:pt idx="8">
                  <c:v>IX 100</c:v>
                </c:pt>
                <c:pt idx="9">
                  <c:v>IX 100</c:v>
                </c:pt>
                <c:pt idx="10">
                  <c:v/>
                </c:pt>
                <c:pt idx="11">
                  <c:v/>
                </c:pt>
                <c:pt idx="12">
                  <c:v/>
                </c:pt>
                <c:pt idx="13">
                  <c:v>IX 100</c:v>
                </c:pt>
                <c:pt idx="14">
                  <c:v/>
                </c:pt>
                <c:pt idx="15">
                  <c:v>IX 85</c:v>
                </c:pt>
                <c:pt idx="16">
                  <c:v/>
                </c:pt>
                <c:pt idx="17">
                  <c:v/>
                </c:pt>
                <c:pt idx="18">
                  <c:v/>
                </c:pt>
                <c:pt idx="19">
                  <c:v/>
                </c:pt>
                <c:pt idx="20">
                  <c:v>IX 100</c:v>
                </c:pt>
                <c:pt idx="21">
                  <c:v>IX 100</c:v>
                </c:pt>
                <c:pt idx="22">
                  <c:v>IX 100</c:v>
                </c:pt>
                <c:pt idx="23">
                  <c:v>IX 100</c:v>
                </c:pt>
                <c:pt idx="24">
                  <c:v>IX 100</c:v>
                </c:pt>
                <c:pt idx="25">
                  <c:v/>
                </c:pt>
                <c:pt idx="26">
                  <c:v/>
                </c:pt>
                <c:pt idx="27">
                  <c:v>IX 100</c:v>
                </c:pt>
                <c:pt idx="28">
                  <c:v/>
                </c:pt>
              </c:strCache>
            </c:strRef>
          </c:cat>
          <c:val>
            <c:numRef>
              <c:f>Sheet1!$B$2:$B$30</c:f>
              <c:numCache>
                <c:formatCode>General</c:formatCode>
                <c:ptCount val="29"/>
                <c:pt idx="0">
                  <c:v>6133.52</c:v>
                </c:pt>
                <c:pt idx="1">
                  <c:v>1350.75</c:v>
                </c:pt>
                <c:pt idx="2">
                  <c:v>1409.13</c:v>
                </c:pt>
                <c:pt idx="3">
                  <c:v>13033.69</c:v>
                </c:pt>
                <c:pt idx="4">
                  <c:v>5133.11</c:v>
                </c:pt>
                <c:pt idx="5">
                  <c:v>1493.23</c:v>
                </c:pt>
                <c:pt idx="6">
                  <c:v>4974.4</c:v>
                </c:pt>
                <c:pt idx="7">
                  <c:v>1222.87</c:v>
                </c:pt>
                <c:pt idx="8">
                  <c:v>905.72</c:v>
                </c:pt>
                <c:pt idx="9">
                  <c:v>1466.93</c:v>
                </c:pt>
                <c:pt idx="10">
                  <c:v>3908.45</c:v>
                </c:pt>
                <c:pt idx="11">
                  <c:v>9679.45</c:v>
                </c:pt>
                <c:pt idx="12">
                  <c:v>48119.47</c:v>
                </c:pt>
                <c:pt idx="13">
                  <c:v>1484.06</c:v>
                </c:pt>
                <c:pt idx="14">
                  <c:v>2896.55</c:v>
                </c:pt>
                <c:pt idx="15">
                  <c:v>6514.47</c:v>
                </c:pt>
                <c:pt idx="16">
                  <c:v>3466.18</c:v>
                </c:pt>
                <c:pt idx="17">
                  <c:v>5721.79</c:v>
                </c:pt>
                <c:pt idx="18">
                  <c:v>22252.92</c:v>
                </c:pt>
                <c:pt idx="19">
                  <c:v>16528.85</c:v>
                </c:pt>
                <c:pt idx="20">
                  <c:v>1378.86</c:v>
                </c:pt>
                <c:pt idx="21">
                  <c:v>1695.21</c:v>
                </c:pt>
                <c:pt idx="22">
                  <c:v>1003.98</c:v>
                </c:pt>
                <c:pt idx="23">
                  <c:v>2777.42</c:v>
                </c:pt>
                <c:pt idx="24">
                  <c:v>2744.05</c:v>
                </c:pt>
                <c:pt idx="25">
                  <c:v>20387.0</c:v>
                </c:pt>
                <c:pt idx="26">
                  <c:v>15748.0</c:v>
                </c:pt>
                <c:pt idx="27">
                  <c:v>142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5</a:t>
                    </a:r>
                  </a:p>
                  <a:p>
                    <a:r>
                      <a:t>1129.84</a:t>
                    </a:r>
                  </a:p>
                </c:rich>
              </c:tx>
              <c:dLblPos val="l"/>
              <c:showLegendKey val="0"/>
              <c:showVal val="1"/>
              <c:showCatName val="0"/>
              <c:showSerName val="0"/>
              <c:showPercent val="0"/>
              <c:showBubbleSize val="0"/>
            </c:dLbl>
            <c:dLbl>
              <c:idx val="2"/>
              <c:tx>
                <c:rich>
                  <a:bodyPr/>
                  <a:lstStyle/>
                  <a:p>
                    <a:r>
                      <a:t>IX 94</a:t>
                    </a:r>
                  </a:p>
                  <a:p>
                    <a:r>
                      <a:t>1309.7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IX 100</a:t>
                    </a:r>
                  </a:p>
                  <a:p>
                    <a:r>
                      <a:t>1222.89</a:t>
                    </a:r>
                  </a:p>
                </c:rich>
              </c:tx>
              <c:dLblPos val="l"/>
              <c:showLegendKey val="0"/>
              <c:showVal val="1"/>
              <c:showCatName val="0"/>
              <c:showSerName val="0"/>
              <c:showPercent val="0"/>
              <c:showBubbleSize val="0"/>
            </c:dLbl>
            <c:dLbl>
              <c:idx val="8"/>
              <c:tx>
                <c:rich>
                  <a:bodyPr/>
                  <a:lstStyle/>
                  <a:p>
                    <a:r>
                      <a:t>IX 100</a:t>
                    </a:r>
                  </a:p>
                  <a:p>
                    <a:r>
                      <a:t>1107.75</a:t>
                    </a:r>
                  </a:p>
                </c:rich>
              </c:tx>
              <c:dLblPos val="l"/>
              <c:showLegendKey val="0"/>
              <c:showVal val="1"/>
              <c:showCatName val="0"/>
              <c:showSerName val="0"/>
              <c:showPercent val="0"/>
              <c:showBubbleSize val="0"/>
            </c:dLbl>
            <c:dLbl>
              <c:idx val="9"/>
              <c:tx>
                <c:rich>
                  <a:bodyPr/>
                  <a:lstStyle/>
                  <a:p>
                    <a:r>
                      <a:t>IX 100</a:t>
                    </a:r>
                  </a:p>
                  <a:p>
                    <a:r>
                      <a:t>1419.01</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IX 100</a:t>
                    </a:r>
                  </a:p>
                  <a:p>
                    <a:r>
                      <a:t>1495.56</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IX 85</a:t>
                    </a:r>
                  </a:p>
                  <a:p>
                    <a:r>
                      <a:t>5581.58</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IX 100</a:t>
                    </a:r>
                  </a:p>
                  <a:p>
                    <a:r>
                      <a:t>1025.92</a:t>
                    </a:r>
                  </a:p>
                </c:rich>
              </c:tx>
              <c:dLblPos val="l"/>
              <c:showLegendKey val="0"/>
              <c:showVal val="1"/>
              <c:showCatName val="0"/>
              <c:showSerName val="0"/>
              <c:showPercent val="0"/>
              <c:showBubbleSize val="0"/>
            </c:dLbl>
            <c:dLbl>
              <c:idx val="21"/>
              <c:tx>
                <c:rich>
                  <a:bodyPr/>
                  <a:lstStyle/>
                  <a:p>
                    <a:r>
                      <a:t>IX 100</a:t>
                    </a:r>
                  </a:p>
                  <a:p>
                    <a:r>
                      <a:t>4352.0</a:t>
                    </a:r>
                  </a:p>
                </c:rich>
              </c:tx>
              <c:dLblPos val="l"/>
              <c:showLegendKey val="0"/>
              <c:showVal val="1"/>
              <c:showCatName val="0"/>
              <c:showSerName val="0"/>
              <c:showPercent val="0"/>
              <c:showBubbleSize val="0"/>
            </c:dLbl>
            <c:dLbl>
              <c:idx val="22"/>
              <c:tx>
                <c:rich>
                  <a:bodyPr/>
                  <a:lstStyle/>
                  <a:p>
                    <a:r>
                      <a:t>IX 100</a:t>
                    </a:r>
                  </a:p>
                  <a:p>
                    <a:r>
                      <a:t>615.37</a:t>
                    </a:r>
                  </a:p>
                </c:rich>
              </c:tx>
              <c:dLblPos val="l"/>
              <c:showLegendKey val="0"/>
              <c:showVal val="1"/>
              <c:showCatName val="0"/>
              <c:showSerName val="0"/>
              <c:showPercent val="0"/>
              <c:showBubbleSize val="0"/>
            </c:dLbl>
            <c:dLbl>
              <c:idx val="23"/>
              <c:tx>
                <c:rich>
                  <a:bodyPr/>
                  <a:lstStyle/>
                  <a:p>
                    <a:r>
                      <a:t>IX 100</a:t>
                    </a:r>
                  </a:p>
                  <a:p>
                    <a:r>
                      <a:t>2777.42</a:t>
                    </a:r>
                  </a:p>
                </c:rich>
              </c:tx>
              <c:dLblPos val="l"/>
              <c:showLegendKey val="0"/>
              <c:showVal val="1"/>
              <c:showCatName val="0"/>
              <c:showSerName val="0"/>
              <c:showPercent val="0"/>
              <c:showBubbleSize val="0"/>
            </c:dLbl>
            <c:dLbl>
              <c:idx val="24"/>
              <c:tx>
                <c:rich>
                  <a:bodyPr/>
                  <a:lstStyle/>
                  <a:p>
                    <a:r>
                      <a:t>IX 100</a:t>
                    </a:r>
                  </a:p>
                  <a:p>
                    <a:r>
                      <a:t>2744.05</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dLbl>
              <c:idx val="26"/>
              <c:tx>
                <c:rich>
                  <a:bodyPr/>
                  <a:lstStyle/>
                  <a:p>
                    <a:r>
                      <a:t>None</a:t>
                    </a:r>
                  </a:p>
                  <a:p>
                    <a:r>
                      <a:t>None</a:t>
                    </a:r>
                  </a:p>
                </c:rich>
              </c:tx>
              <c:dLblPos val="l"/>
              <c:showLegendKey val="0"/>
              <c:showVal val="1"/>
              <c:showCatName val="0"/>
              <c:showSerName val="0"/>
              <c:showPercent val="0"/>
              <c:showBubbleSize val="0"/>
            </c:dLbl>
            <c:dLbl>
              <c:idx val="27"/>
              <c:tx>
                <c:rich>
                  <a:bodyPr/>
                  <a:lstStyle/>
                  <a:p>
                    <a:r>
                      <a:t>IX 100</a:t>
                    </a:r>
                  </a:p>
                  <a:p>
                    <a:r>
                      <a:t>1420.8</a:t>
                    </a:r>
                  </a:p>
                </c:rich>
              </c:tx>
              <c:dLblPos val="l"/>
              <c:showLegendKey val="0"/>
              <c:showVal val="1"/>
              <c:showCatName val="0"/>
              <c:showSerName val="0"/>
              <c:showPercent val="0"/>
              <c:showBubbleSize val="0"/>
            </c:dLbl>
            <c:dLbl>
              <c:idx val="28"/>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5</c:v>
                </c:pt>
                <c:pt idx="2">
                  <c:v>IX 94</c:v>
                </c:pt>
                <c:pt idx="3">
                  <c:v/>
                </c:pt>
                <c:pt idx="4">
                  <c:v/>
                </c:pt>
                <c:pt idx="5">
                  <c:v/>
                </c:pt>
                <c:pt idx="6">
                  <c:v/>
                </c:pt>
                <c:pt idx="7">
                  <c:v>IX 100</c:v>
                </c:pt>
                <c:pt idx="8">
                  <c:v>IX 100</c:v>
                </c:pt>
                <c:pt idx="9">
                  <c:v>IX 100</c:v>
                </c:pt>
                <c:pt idx="10">
                  <c:v/>
                </c:pt>
                <c:pt idx="11">
                  <c:v/>
                </c:pt>
                <c:pt idx="12">
                  <c:v/>
                </c:pt>
                <c:pt idx="13">
                  <c:v>IX 100</c:v>
                </c:pt>
                <c:pt idx="14">
                  <c:v/>
                </c:pt>
                <c:pt idx="15">
                  <c:v>IX 85</c:v>
                </c:pt>
                <c:pt idx="16">
                  <c:v/>
                </c:pt>
                <c:pt idx="17">
                  <c:v/>
                </c:pt>
                <c:pt idx="18">
                  <c:v/>
                </c:pt>
                <c:pt idx="19">
                  <c:v/>
                </c:pt>
                <c:pt idx="20">
                  <c:v>IX 100</c:v>
                </c:pt>
                <c:pt idx="21">
                  <c:v>IX 100</c:v>
                </c:pt>
                <c:pt idx="22">
                  <c:v>IX 100</c:v>
                </c:pt>
                <c:pt idx="23">
                  <c:v>IX 100</c:v>
                </c:pt>
                <c:pt idx="24">
                  <c:v>IX 100</c:v>
                </c:pt>
                <c:pt idx="25">
                  <c:v/>
                </c:pt>
                <c:pt idx="26">
                  <c:v/>
                </c:pt>
                <c:pt idx="27">
                  <c:v>IX 100</c:v>
                </c:pt>
                <c:pt idx="28">
                  <c:v/>
                </c:pt>
              </c:strCache>
            </c:strRef>
          </c:cat>
          <c:val>
            <c:numRef>
              <c:f>Sheet1!$C$2:$C$30</c:f>
              <c:numCache>
                <c:formatCode>General</c:formatCode>
                <c:ptCount val="29"/>
                <c:pt idx="1">
                  <c:v>1129.84</c:v>
                </c:pt>
                <c:pt idx="2">
                  <c:v>1309.74</c:v>
                </c:pt>
                <c:pt idx="7">
                  <c:v>1222.89</c:v>
                </c:pt>
                <c:pt idx="8">
                  <c:v>1107.75</c:v>
                </c:pt>
                <c:pt idx="9">
                  <c:v>1419.01</c:v>
                </c:pt>
                <c:pt idx="13">
                  <c:v>1495.56</c:v>
                </c:pt>
                <c:pt idx="15">
                  <c:v>5581.58</c:v>
                </c:pt>
                <c:pt idx="20">
                  <c:v>1025.92</c:v>
                </c:pt>
                <c:pt idx="21">
                  <c:v>4352.0</c:v>
                </c:pt>
                <c:pt idx="22">
                  <c:v>615.37</c:v>
                </c:pt>
                <c:pt idx="23">
                  <c:v>2777.42</c:v>
                </c:pt>
                <c:pt idx="24">
                  <c:v>2744.05</c:v>
                </c:pt>
                <c:pt idx="27">
                  <c:v>1420.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5</c:v>
                </c:pt>
                <c:pt idx="2">
                  <c:v>IX 94</c:v>
                </c:pt>
                <c:pt idx="3">
                  <c:v/>
                </c:pt>
                <c:pt idx="4">
                  <c:v/>
                </c:pt>
                <c:pt idx="5">
                  <c:v/>
                </c:pt>
                <c:pt idx="6">
                  <c:v/>
                </c:pt>
                <c:pt idx="7">
                  <c:v>IX 100</c:v>
                </c:pt>
                <c:pt idx="8">
                  <c:v>IX 100</c:v>
                </c:pt>
                <c:pt idx="9">
                  <c:v>IX 100</c:v>
                </c:pt>
                <c:pt idx="10">
                  <c:v/>
                </c:pt>
                <c:pt idx="11">
                  <c:v/>
                </c:pt>
                <c:pt idx="12">
                  <c:v/>
                </c:pt>
                <c:pt idx="13">
                  <c:v>IX 100</c:v>
                </c:pt>
                <c:pt idx="14">
                  <c:v/>
                </c:pt>
                <c:pt idx="15">
                  <c:v>IX 85</c:v>
                </c:pt>
                <c:pt idx="16">
                  <c:v/>
                </c:pt>
                <c:pt idx="17">
                  <c:v/>
                </c:pt>
                <c:pt idx="18">
                  <c:v/>
                </c:pt>
                <c:pt idx="19">
                  <c:v/>
                </c:pt>
                <c:pt idx="20">
                  <c:v>IX 100</c:v>
                </c:pt>
                <c:pt idx="21">
                  <c:v>IX 100</c:v>
                </c:pt>
                <c:pt idx="22">
                  <c:v>IX 100</c:v>
                </c:pt>
                <c:pt idx="23">
                  <c:v>IX 100</c:v>
                </c:pt>
                <c:pt idx="24">
                  <c:v>IX 100</c:v>
                </c:pt>
                <c:pt idx="25">
                  <c:v/>
                </c:pt>
                <c:pt idx="26">
                  <c:v/>
                </c:pt>
                <c:pt idx="27">
                  <c:v>IX 100</c:v>
                </c:pt>
                <c:pt idx="28">
                  <c:v/>
                </c:pt>
              </c:strCache>
            </c:strRef>
          </c:cat>
          <c:val>
            <c:numRef>
              <c:f>Sheet1!$D$2:$D$30</c:f>
              <c:numCache>
                <c:formatCode>General</c:formatCode>
                <c:ptCount val="29"/>
                <c:pt idx="0">
                  <c:v>12358.24</c:v>
                </c:pt>
                <c:pt idx="3">
                  <c:v>12979.89</c:v>
                </c:pt>
                <c:pt idx="4">
                  <c:v>2556.52</c:v>
                </c:pt>
                <c:pt idx="6">
                  <c:v>7350.95</c:v>
                </c:pt>
                <c:pt idx="10">
                  <c:v>3161.84</c:v>
                </c:pt>
                <c:pt idx="12">
                  <c:v>48001.13</c:v>
                </c:pt>
                <c:pt idx="16">
                  <c:v>2673.1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5</c:v>
                </c:pt>
                <c:pt idx="2">
                  <c:v>IX 94</c:v>
                </c:pt>
                <c:pt idx="3">
                  <c:v/>
                </c:pt>
                <c:pt idx="4">
                  <c:v/>
                </c:pt>
                <c:pt idx="5">
                  <c:v/>
                </c:pt>
                <c:pt idx="6">
                  <c:v/>
                </c:pt>
                <c:pt idx="7">
                  <c:v>IX 100</c:v>
                </c:pt>
                <c:pt idx="8">
                  <c:v>IX 100</c:v>
                </c:pt>
                <c:pt idx="9">
                  <c:v>IX 100</c:v>
                </c:pt>
                <c:pt idx="10">
                  <c:v/>
                </c:pt>
                <c:pt idx="11">
                  <c:v/>
                </c:pt>
                <c:pt idx="12">
                  <c:v/>
                </c:pt>
                <c:pt idx="13">
                  <c:v>IX 100</c:v>
                </c:pt>
                <c:pt idx="14">
                  <c:v/>
                </c:pt>
                <c:pt idx="15">
                  <c:v>IX 85</c:v>
                </c:pt>
                <c:pt idx="16">
                  <c:v/>
                </c:pt>
                <c:pt idx="17">
                  <c:v/>
                </c:pt>
                <c:pt idx="18">
                  <c:v/>
                </c:pt>
                <c:pt idx="19">
                  <c:v/>
                </c:pt>
                <c:pt idx="20">
                  <c:v>IX 100</c:v>
                </c:pt>
                <c:pt idx="21">
                  <c:v>IX 100</c:v>
                </c:pt>
                <c:pt idx="22">
                  <c:v>IX 100</c:v>
                </c:pt>
                <c:pt idx="23">
                  <c:v>IX 100</c:v>
                </c:pt>
                <c:pt idx="24">
                  <c:v>IX 100</c:v>
                </c:pt>
                <c:pt idx="25">
                  <c:v/>
                </c:pt>
                <c:pt idx="26">
                  <c:v/>
                </c:pt>
                <c:pt idx="27">
                  <c:v>IX 100</c:v>
                </c:pt>
                <c:pt idx="28">
                  <c:v/>
                </c:pt>
              </c:strCache>
            </c:strRef>
          </c:cat>
          <c:val>
            <c:numRef>
              <c:f>Sheet1!$E$2:$E$30</c:f>
              <c:numCache>
                <c:formatCode>General</c:formatCode>
                <c:ptCount val="29"/>
                <c:pt idx="0">
                  <c:v>8371.05</c:v>
                </c:pt>
                <c:pt idx="1">
                  <c:v>4704.57</c:v>
                </c:pt>
                <c:pt idx="3">
                  <c:v>12302.61</c:v>
                </c:pt>
                <c:pt idx="4">
                  <c:v>11483.89</c:v>
                </c:pt>
                <c:pt idx="6">
                  <c:v>6035.91</c:v>
                </c:pt>
                <c:pt idx="10">
                  <c:v>6507.37</c:v>
                </c:pt>
                <c:pt idx="14">
                  <c:v>4860.49</c:v>
                </c:pt>
                <c:pt idx="16">
                  <c:v>4265.09</c:v>
                </c:pt>
                <c:pt idx="17">
                  <c:v>5374.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iersdorf</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5</c:v>
                </c:pt>
                <c:pt idx="2">
                  <c:v>IX 94</c:v>
                </c:pt>
                <c:pt idx="3">
                  <c:v/>
                </c:pt>
                <c:pt idx="4">
                  <c:v/>
                </c:pt>
                <c:pt idx="5">
                  <c:v/>
                </c:pt>
                <c:pt idx="6">
                  <c:v/>
                </c:pt>
                <c:pt idx="7">
                  <c:v>IX 100</c:v>
                </c:pt>
                <c:pt idx="8">
                  <c:v>IX 100</c:v>
                </c:pt>
                <c:pt idx="9">
                  <c:v>IX 100</c:v>
                </c:pt>
                <c:pt idx="10">
                  <c:v/>
                </c:pt>
                <c:pt idx="11">
                  <c:v/>
                </c:pt>
                <c:pt idx="12">
                  <c:v/>
                </c:pt>
                <c:pt idx="13">
                  <c:v>IX 100</c:v>
                </c:pt>
                <c:pt idx="14">
                  <c:v/>
                </c:pt>
                <c:pt idx="15">
                  <c:v>IX 85</c:v>
                </c:pt>
                <c:pt idx="16">
                  <c:v/>
                </c:pt>
                <c:pt idx="17">
                  <c:v/>
                </c:pt>
                <c:pt idx="18">
                  <c:v/>
                </c:pt>
                <c:pt idx="19">
                  <c:v/>
                </c:pt>
                <c:pt idx="20">
                  <c:v>IX 100</c:v>
                </c:pt>
                <c:pt idx="21">
                  <c:v>IX 100</c:v>
                </c:pt>
                <c:pt idx="22">
                  <c:v>IX 100</c:v>
                </c:pt>
                <c:pt idx="23">
                  <c:v>IX 100</c:v>
                </c:pt>
                <c:pt idx="24">
                  <c:v>IX 100</c:v>
                </c:pt>
                <c:pt idx="25">
                  <c:v/>
                </c:pt>
                <c:pt idx="26">
                  <c:v/>
                </c:pt>
                <c:pt idx="27">
                  <c:v>IX 100</c:v>
                </c:pt>
                <c:pt idx="28">
                  <c:v/>
                </c:pt>
              </c:strCache>
            </c:strRef>
          </c:cat>
          <c:val>
            <c:numRef>
              <c:f>Sheet1!$F$2:$F$30</c:f>
              <c:numCache>
                <c:formatCode>General</c:formatCode>
                <c:ptCount val="29"/>
                <c:pt idx="0">
                  <c:v>8102.98</c:v>
                </c:pt>
                <c:pt idx="1">
                  <c:v>2538.46</c:v>
                </c:pt>
                <c:pt idx="2">
                  <c:v>1389.6</c:v>
                </c:pt>
                <c:pt idx="3">
                  <c:v>11876.42</c:v>
                </c:pt>
                <c:pt idx="4">
                  <c:v>12461.51</c:v>
                </c:pt>
                <c:pt idx="5">
                  <c:v>1488.21</c:v>
                </c:pt>
                <c:pt idx="6">
                  <c:v>3894.74</c:v>
                </c:pt>
                <c:pt idx="11">
                  <c:v>8723.49</c:v>
                </c:pt>
                <c:pt idx="13">
                  <c:v>668.57</c:v>
                </c:pt>
                <c:pt idx="15">
                  <c:v>6552.8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8119.969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5</c:v>
                </c:pt>
                <c:pt idx="2">
                  <c:v>IX 96</c:v>
                </c:pt>
                <c:pt idx="3">
                  <c:v/>
                </c:pt>
                <c:pt idx="4">
                  <c:v/>
                </c:pt>
                <c:pt idx="5">
                  <c:v/>
                </c:pt>
                <c:pt idx="6">
                  <c:v/>
                </c:pt>
                <c:pt idx="7">
                  <c:v>IX 100</c:v>
                </c:pt>
                <c:pt idx="8">
                  <c:v>IX 100</c:v>
                </c:pt>
                <c:pt idx="9">
                  <c:v>IX 100</c:v>
                </c:pt>
                <c:pt idx="10">
                  <c:v/>
                </c:pt>
                <c:pt idx="11">
                  <c:v/>
                </c:pt>
                <c:pt idx="12">
                  <c:v/>
                </c:pt>
                <c:pt idx="13">
                  <c:v>IX 100</c:v>
                </c:pt>
                <c:pt idx="14">
                  <c:v/>
                </c:pt>
                <c:pt idx="15">
                  <c:v>IX 88</c:v>
                </c:pt>
                <c:pt idx="16">
                  <c:v/>
                </c:pt>
                <c:pt idx="17">
                  <c:v/>
                </c:pt>
                <c:pt idx="18">
                  <c:v/>
                </c:pt>
                <c:pt idx="19">
                  <c:v/>
                </c:pt>
                <c:pt idx="20">
                  <c:v>IX 100</c:v>
                </c:pt>
                <c:pt idx="21">
                  <c:v>IX 100</c:v>
                </c:pt>
                <c:pt idx="22">
                  <c:v>IX 100</c:v>
                </c:pt>
                <c:pt idx="23">
                  <c:v>IX 100</c:v>
                </c:pt>
                <c:pt idx="24">
                  <c:v>IX 100</c:v>
                </c:pt>
                <c:pt idx="25">
                  <c:v/>
                </c:pt>
                <c:pt idx="26">
                  <c:v/>
                </c:pt>
              </c:strCache>
            </c:strRef>
          </c:cat>
          <c:val>
            <c:numRef>
              <c:f>Sheet1!$B$2:$B$28</c:f>
              <c:numCache>
                <c:formatCode>General</c:formatCode>
                <c:ptCount val="27"/>
                <c:pt idx="0">
                  <c:v>6653.67</c:v>
                </c:pt>
                <c:pt idx="1">
                  <c:v>1385.61</c:v>
                </c:pt>
                <c:pt idx="2">
                  <c:v>1422.76</c:v>
                </c:pt>
                <c:pt idx="3">
                  <c:v>13590.28</c:v>
                </c:pt>
                <c:pt idx="4">
                  <c:v>5153.48</c:v>
                </c:pt>
                <c:pt idx="5">
                  <c:v>1485.17</c:v>
                </c:pt>
                <c:pt idx="6">
                  <c:v>5157.16</c:v>
                </c:pt>
                <c:pt idx="7">
                  <c:v>1235.07</c:v>
                </c:pt>
                <c:pt idx="8">
                  <c:v>920.02</c:v>
                </c:pt>
                <c:pt idx="9">
                  <c:v>1497.08</c:v>
                </c:pt>
                <c:pt idx="10">
                  <c:v>4057.79</c:v>
                </c:pt>
                <c:pt idx="11">
                  <c:v>10208.26</c:v>
                </c:pt>
                <c:pt idx="12">
                  <c:v>51602.2</c:v>
                </c:pt>
                <c:pt idx="13">
                  <c:v>1514.8</c:v>
                </c:pt>
                <c:pt idx="14">
                  <c:v>3010.55</c:v>
                </c:pt>
                <c:pt idx="15">
                  <c:v>6693.7</c:v>
                </c:pt>
                <c:pt idx="16">
                  <c:v>3648.2</c:v>
                </c:pt>
                <c:pt idx="17">
                  <c:v>5866.35</c:v>
                </c:pt>
                <c:pt idx="18">
                  <c:v>23894.17</c:v>
                </c:pt>
                <c:pt idx="19">
                  <c:v>23565.54</c:v>
                </c:pt>
                <c:pt idx="20">
                  <c:v>1583.12</c:v>
                </c:pt>
                <c:pt idx="21">
                  <c:v>1716.24</c:v>
                </c:pt>
                <c:pt idx="22">
                  <c:v>1059.93</c:v>
                </c:pt>
                <c:pt idx="23">
                  <c:v>3036.22</c:v>
                </c:pt>
                <c:pt idx="24">
                  <c:v>2948.4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5</a:t>
                    </a:r>
                  </a:p>
                  <a:p>
                    <a:r>
                      <a:t>1144.88</a:t>
                    </a:r>
                  </a:p>
                </c:rich>
              </c:tx>
              <c:dLblPos val="l"/>
              <c:showLegendKey val="0"/>
              <c:showVal val="1"/>
              <c:showCatName val="0"/>
              <c:showSerName val="0"/>
              <c:showPercent val="0"/>
              <c:showBubbleSize val="0"/>
            </c:dLbl>
            <c:dLbl>
              <c:idx val="2"/>
              <c:tx>
                <c:rich>
                  <a:bodyPr/>
                  <a:lstStyle/>
                  <a:p>
                    <a:r>
                      <a:t>IX 96</a:t>
                    </a:r>
                  </a:p>
                  <a:p>
                    <a:r>
                      <a:t>1328.7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IX 100</a:t>
                    </a:r>
                  </a:p>
                  <a:p>
                    <a:r>
                      <a:t>1235.04</a:t>
                    </a:r>
                  </a:p>
                </c:rich>
              </c:tx>
              <c:dLblPos val="l"/>
              <c:showLegendKey val="0"/>
              <c:showVal val="1"/>
              <c:showCatName val="0"/>
              <c:showSerName val="0"/>
              <c:showPercent val="0"/>
              <c:showBubbleSize val="0"/>
            </c:dLbl>
            <c:dLbl>
              <c:idx val="8"/>
              <c:tx>
                <c:rich>
                  <a:bodyPr/>
                  <a:lstStyle/>
                  <a:p>
                    <a:r>
                      <a:t>IX 100</a:t>
                    </a:r>
                  </a:p>
                  <a:p>
                    <a:r>
                      <a:t>1122.95</a:t>
                    </a:r>
                  </a:p>
                </c:rich>
              </c:tx>
              <c:dLblPos val="l"/>
              <c:showLegendKey val="0"/>
              <c:showVal val="1"/>
              <c:showCatName val="0"/>
              <c:showSerName val="0"/>
              <c:showPercent val="0"/>
              <c:showBubbleSize val="0"/>
            </c:dLbl>
            <c:dLbl>
              <c:idx val="9"/>
              <c:tx>
                <c:rich>
                  <a:bodyPr/>
                  <a:lstStyle/>
                  <a:p>
                    <a:r>
                      <a:t>IX 100</a:t>
                    </a:r>
                  </a:p>
                  <a:p>
                    <a:r>
                      <a:t>1436.52</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IX 100</a:t>
                    </a:r>
                  </a:p>
                  <a:p>
                    <a:r>
                      <a:t>1506.93</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IX 88</a:t>
                    </a:r>
                  </a:p>
                  <a:p>
                    <a:r>
                      <a:t>5904.05</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IX 100</a:t>
                    </a:r>
                  </a:p>
                  <a:p>
                    <a:r>
                      <a:t>1109.26</a:t>
                    </a:r>
                  </a:p>
                </c:rich>
              </c:tx>
              <c:dLblPos val="l"/>
              <c:showLegendKey val="0"/>
              <c:showVal val="1"/>
              <c:showCatName val="0"/>
              <c:showSerName val="0"/>
              <c:showPercent val="0"/>
              <c:showBubbleSize val="0"/>
            </c:dLbl>
            <c:dLbl>
              <c:idx val="21"/>
              <c:tx>
                <c:rich>
                  <a:bodyPr/>
                  <a:lstStyle/>
                  <a:p>
                    <a:r>
                      <a:t>IX 100</a:t>
                    </a:r>
                  </a:p>
                  <a:p>
                    <a:r>
                      <a:t>4352.0</a:t>
                    </a:r>
                  </a:p>
                </c:rich>
              </c:tx>
              <c:dLblPos val="l"/>
              <c:showLegendKey val="0"/>
              <c:showVal val="1"/>
              <c:showCatName val="0"/>
              <c:showSerName val="0"/>
              <c:showPercent val="0"/>
              <c:showBubbleSize val="0"/>
            </c:dLbl>
            <c:dLbl>
              <c:idx val="22"/>
              <c:tx>
                <c:rich>
                  <a:bodyPr/>
                  <a:lstStyle/>
                  <a:p>
                    <a:r>
                      <a:t>IX 100</a:t>
                    </a:r>
                  </a:p>
                  <a:p>
                    <a:r>
                      <a:t>638.09</a:t>
                    </a:r>
                  </a:p>
                </c:rich>
              </c:tx>
              <c:dLblPos val="l"/>
              <c:showLegendKey val="0"/>
              <c:showVal val="1"/>
              <c:showCatName val="0"/>
              <c:showSerName val="0"/>
              <c:showPercent val="0"/>
              <c:showBubbleSize val="0"/>
            </c:dLbl>
            <c:dLbl>
              <c:idx val="23"/>
              <c:tx>
                <c:rich>
                  <a:bodyPr/>
                  <a:lstStyle/>
                  <a:p>
                    <a:r>
                      <a:t>IX 100</a:t>
                    </a:r>
                  </a:p>
                  <a:p>
                    <a:r>
                      <a:t>3036.22</a:t>
                    </a:r>
                  </a:p>
                </c:rich>
              </c:tx>
              <c:dLblPos val="l"/>
              <c:showLegendKey val="0"/>
              <c:showVal val="1"/>
              <c:showCatName val="0"/>
              <c:showSerName val="0"/>
              <c:showPercent val="0"/>
              <c:showBubbleSize val="0"/>
            </c:dLbl>
            <c:dLbl>
              <c:idx val="24"/>
              <c:tx>
                <c:rich>
                  <a:bodyPr/>
                  <a:lstStyle/>
                  <a:p>
                    <a:r>
                      <a:t>IX 100</a:t>
                    </a:r>
                  </a:p>
                  <a:p>
                    <a:r>
                      <a:t>2948.47</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dLbl>
              <c:idx val="2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5</c:v>
                </c:pt>
                <c:pt idx="2">
                  <c:v>IX 96</c:v>
                </c:pt>
                <c:pt idx="3">
                  <c:v/>
                </c:pt>
                <c:pt idx="4">
                  <c:v/>
                </c:pt>
                <c:pt idx="5">
                  <c:v/>
                </c:pt>
                <c:pt idx="6">
                  <c:v/>
                </c:pt>
                <c:pt idx="7">
                  <c:v>IX 100</c:v>
                </c:pt>
                <c:pt idx="8">
                  <c:v>IX 100</c:v>
                </c:pt>
                <c:pt idx="9">
                  <c:v>IX 100</c:v>
                </c:pt>
                <c:pt idx="10">
                  <c:v/>
                </c:pt>
                <c:pt idx="11">
                  <c:v/>
                </c:pt>
                <c:pt idx="12">
                  <c:v/>
                </c:pt>
                <c:pt idx="13">
                  <c:v>IX 100</c:v>
                </c:pt>
                <c:pt idx="14">
                  <c:v/>
                </c:pt>
                <c:pt idx="15">
                  <c:v>IX 88</c:v>
                </c:pt>
                <c:pt idx="16">
                  <c:v/>
                </c:pt>
                <c:pt idx="17">
                  <c:v/>
                </c:pt>
                <c:pt idx="18">
                  <c:v/>
                </c:pt>
                <c:pt idx="19">
                  <c:v/>
                </c:pt>
                <c:pt idx="20">
                  <c:v>IX 100</c:v>
                </c:pt>
                <c:pt idx="21">
                  <c:v>IX 100</c:v>
                </c:pt>
                <c:pt idx="22">
                  <c:v>IX 100</c:v>
                </c:pt>
                <c:pt idx="23">
                  <c:v>IX 100</c:v>
                </c:pt>
                <c:pt idx="24">
                  <c:v>IX 100</c:v>
                </c:pt>
                <c:pt idx="25">
                  <c:v/>
                </c:pt>
                <c:pt idx="26">
                  <c:v/>
                </c:pt>
              </c:strCache>
            </c:strRef>
          </c:cat>
          <c:val>
            <c:numRef>
              <c:f>Sheet1!$C$2:$C$28</c:f>
              <c:numCache>
                <c:formatCode>General</c:formatCode>
                <c:ptCount val="27"/>
                <c:pt idx="1">
                  <c:v>1144.88</c:v>
                </c:pt>
                <c:pt idx="2">
                  <c:v>1328.78</c:v>
                </c:pt>
                <c:pt idx="7">
                  <c:v>1235.04</c:v>
                </c:pt>
                <c:pt idx="8">
                  <c:v>1122.95</c:v>
                </c:pt>
                <c:pt idx="9">
                  <c:v>1436.52</c:v>
                </c:pt>
                <c:pt idx="13">
                  <c:v>1506.93</c:v>
                </c:pt>
                <c:pt idx="15">
                  <c:v>5904.05</c:v>
                </c:pt>
                <c:pt idx="20">
                  <c:v>1109.26</c:v>
                </c:pt>
                <c:pt idx="21">
                  <c:v>4352.0</c:v>
                </c:pt>
                <c:pt idx="22">
                  <c:v>638.09</c:v>
                </c:pt>
                <c:pt idx="23">
                  <c:v>3036.22</c:v>
                </c:pt>
                <c:pt idx="24">
                  <c:v>2948.4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5</c:v>
                </c:pt>
                <c:pt idx="2">
                  <c:v>IX 96</c:v>
                </c:pt>
                <c:pt idx="3">
                  <c:v/>
                </c:pt>
                <c:pt idx="4">
                  <c:v/>
                </c:pt>
                <c:pt idx="5">
                  <c:v/>
                </c:pt>
                <c:pt idx="6">
                  <c:v/>
                </c:pt>
                <c:pt idx="7">
                  <c:v>IX 100</c:v>
                </c:pt>
                <c:pt idx="8">
                  <c:v>IX 100</c:v>
                </c:pt>
                <c:pt idx="9">
                  <c:v>IX 100</c:v>
                </c:pt>
                <c:pt idx="10">
                  <c:v/>
                </c:pt>
                <c:pt idx="11">
                  <c:v/>
                </c:pt>
                <c:pt idx="12">
                  <c:v/>
                </c:pt>
                <c:pt idx="13">
                  <c:v>IX 100</c:v>
                </c:pt>
                <c:pt idx="14">
                  <c:v/>
                </c:pt>
                <c:pt idx="15">
                  <c:v>IX 88</c:v>
                </c:pt>
                <c:pt idx="16">
                  <c:v/>
                </c:pt>
                <c:pt idx="17">
                  <c:v/>
                </c:pt>
                <c:pt idx="18">
                  <c:v/>
                </c:pt>
                <c:pt idx="19">
                  <c:v/>
                </c:pt>
                <c:pt idx="20">
                  <c:v>IX 100</c:v>
                </c:pt>
                <c:pt idx="21">
                  <c:v>IX 100</c:v>
                </c:pt>
                <c:pt idx="22">
                  <c:v>IX 100</c:v>
                </c:pt>
                <c:pt idx="23">
                  <c:v>IX 100</c:v>
                </c:pt>
                <c:pt idx="24">
                  <c:v>IX 100</c:v>
                </c:pt>
                <c:pt idx="25">
                  <c:v/>
                </c:pt>
                <c:pt idx="26">
                  <c:v/>
                </c:pt>
              </c:strCache>
            </c:strRef>
          </c:cat>
          <c:val>
            <c:numRef>
              <c:f>Sheet1!$D$2:$D$28</c:f>
              <c:numCache>
                <c:formatCode>General</c:formatCode>
                <c:ptCount val="27"/>
                <c:pt idx="0">
                  <c:v>12511.07</c:v>
                </c:pt>
                <c:pt idx="3">
                  <c:v>13022.58</c:v>
                </c:pt>
                <c:pt idx="4">
                  <c:v>2575.07</c:v>
                </c:pt>
                <c:pt idx="6">
                  <c:v>7530.49</c:v>
                </c:pt>
                <c:pt idx="10">
                  <c:v>3184.07</c:v>
                </c:pt>
                <c:pt idx="12">
                  <c:v>51589.48</c:v>
                </c:pt>
                <c:pt idx="16">
                  <c:v>2750.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5</c:v>
                </c:pt>
                <c:pt idx="2">
                  <c:v>IX 96</c:v>
                </c:pt>
                <c:pt idx="3">
                  <c:v/>
                </c:pt>
                <c:pt idx="4">
                  <c:v/>
                </c:pt>
                <c:pt idx="5">
                  <c:v/>
                </c:pt>
                <c:pt idx="6">
                  <c:v/>
                </c:pt>
                <c:pt idx="7">
                  <c:v>IX 100</c:v>
                </c:pt>
                <c:pt idx="8">
                  <c:v>IX 100</c:v>
                </c:pt>
                <c:pt idx="9">
                  <c:v>IX 100</c:v>
                </c:pt>
                <c:pt idx="10">
                  <c:v/>
                </c:pt>
                <c:pt idx="11">
                  <c:v/>
                </c:pt>
                <c:pt idx="12">
                  <c:v/>
                </c:pt>
                <c:pt idx="13">
                  <c:v>IX 100</c:v>
                </c:pt>
                <c:pt idx="14">
                  <c:v/>
                </c:pt>
                <c:pt idx="15">
                  <c:v>IX 88</c:v>
                </c:pt>
                <c:pt idx="16">
                  <c:v/>
                </c:pt>
                <c:pt idx="17">
                  <c:v/>
                </c:pt>
                <c:pt idx="18">
                  <c:v/>
                </c:pt>
                <c:pt idx="19">
                  <c:v/>
                </c:pt>
                <c:pt idx="20">
                  <c:v>IX 100</c:v>
                </c:pt>
                <c:pt idx="21">
                  <c:v>IX 100</c:v>
                </c:pt>
                <c:pt idx="22">
                  <c:v>IX 100</c:v>
                </c:pt>
                <c:pt idx="23">
                  <c:v>IX 100</c:v>
                </c:pt>
                <c:pt idx="24">
                  <c:v>IX 100</c:v>
                </c:pt>
                <c:pt idx="25">
                  <c:v/>
                </c:pt>
                <c:pt idx="26">
                  <c:v/>
                </c:pt>
              </c:strCache>
            </c:strRef>
          </c:cat>
          <c:val>
            <c:numRef>
              <c:f>Sheet1!$E$2:$E$28</c:f>
              <c:numCache>
                <c:formatCode>General</c:formatCode>
                <c:ptCount val="27"/>
                <c:pt idx="0">
                  <c:v>8523.1</c:v>
                </c:pt>
                <c:pt idx="1">
                  <c:v>4755.97</c:v>
                </c:pt>
                <c:pt idx="3">
                  <c:v>12529.91</c:v>
                </c:pt>
                <c:pt idx="4">
                  <c:v>11691.08</c:v>
                </c:pt>
                <c:pt idx="6">
                  <c:v>6314.44</c:v>
                </c:pt>
                <c:pt idx="10">
                  <c:v>6796.84</c:v>
                </c:pt>
                <c:pt idx="14">
                  <c:v>5409.61</c:v>
                </c:pt>
                <c:pt idx="16">
                  <c:v>4690.0</c:v>
                </c:pt>
                <c:pt idx="17">
                  <c:v>5441.2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iersdorf</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5</c:v>
                </c:pt>
                <c:pt idx="2">
                  <c:v>IX 96</c:v>
                </c:pt>
                <c:pt idx="3">
                  <c:v/>
                </c:pt>
                <c:pt idx="4">
                  <c:v/>
                </c:pt>
                <c:pt idx="5">
                  <c:v/>
                </c:pt>
                <c:pt idx="6">
                  <c:v/>
                </c:pt>
                <c:pt idx="7">
                  <c:v>IX 100</c:v>
                </c:pt>
                <c:pt idx="8">
                  <c:v>IX 100</c:v>
                </c:pt>
                <c:pt idx="9">
                  <c:v>IX 100</c:v>
                </c:pt>
                <c:pt idx="10">
                  <c:v/>
                </c:pt>
                <c:pt idx="11">
                  <c:v/>
                </c:pt>
                <c:pt idx="12">
                  <c:v/>
                </c:pt>
                <c:pt idx="13">
                  <c:v>IX 100</c:v>
                </c:pt>
                <c:pt idx="14">
                  <c:v/>
                </c:pt>
                <c:pt idx="15">
                  <c:v>IX 88</c:v>
                </c:pt>
                <c:pt idx="16">
                  <c:v/>
                </c:pt>
                <c:pt idx="17">
                  <c:v/>
                </c:pt>
                <c:pt idx="18">
                  <c:v/>
                </c:pt>
                <c:pt idx="19">
                  <c:v/>
                </c:pt>
                <c:pt idx="20">
                  <c:v>IX 100</c:v>
                </c:pt>
                <c:pt idx="21">
                  <c:v>IX 100</c:v>
                </c:pt>
                <c:pt idx="22">
                  <c:v>IX 100</c:v>
                </c:pt>
                <c:pt idx="23">
                  <c:v>IX 100</c:v>
                </c:pt>
                <c:pt idx="24">
                  <c:v>IX 100</c:v>
                </c:pt>
                <c:pt idx="25">
                  <c:v/>
                </c:pt>
                <c:pt idx="26">
                  <c:v/>
                </c:pt>
              </c:strCache>
            </c:strRef>
          </c:cat>
          <c:val>
            <c:numRef>
              <c:f>Sheet1!$F$2:$F$28</c:f>
              <c:numCache>
                <c:formatCode>General</c:formatCode>
                <c:ptCount val="27"/>
                <c:pt idx="0">
                  <c:v>8309.6</c:v>
                </c:pt>
                <c:pt idx="1">
                  <c:v>2521.42</c:v>
                </c:pt>
                <c:pt idx="2">
                  <c:v>1390.75</c:v>
                </c:pt>
                <c:pt idx="3">
                  <c:v>12141.98</c:v>
                </c:pt>
                <c:pt idx="4">
                  <c:v>12687.08</c:v>
                </c:pt>
                <c:pt idx="5">
                  <c:v>1479.13</c:v>
                </c:pt>
                <c:pt idx="6">
                  <c:v>4032.39</c:v>
                </c:pt>
                <c:pt idx="11">
                  <c:v>8977.97</c:v>
                </c:pt>
                <c:pt idx="15">
                  <c:v>6718.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602.703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8</c:v>
                </c:pt>
                <c:pt idx="4">
                  <c:v>IX 36</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B$2:$B$25</c:f>
              <c:numCache>
                <c:formatCode>General</c:formatCode>
                <c:ptCount val="24"/>
                <c:pt idx="0">
                  <c:v>8438.15</c:v>
                </c:pt>
                <c:pt idx="1">
                  <c:v>13871.35</c:v>
                </c:pt>
                <c:pt idx="2">
                  <c:v>5330.27</c:v>
                </c:pt>
                <c:pt idx="3">
                  <c:v>1690.01</c:v>
                </c:pt>
                <c:pt idx="4">
                  <c:v>1689.65</c:v>
                </c:pt>
                <c:pt idx="5">
                  <c:v>5083.56</c:v>
                </c:pt>
                <c:pt idx="6">
                  <c:v>4481.55</c:v>
                </c:pt>
                <c:pt idx="7">
                  <c:v>10908.83</c:v>
                </c:pt>
                <c:pt idx="8">
                  <c:v>1336.88</c:v>
                </c:pt>
                <c:pt idx="9">
                  <c:v>1854.94</c:v>
                </c:pt>
                <c:pt idx="10">
                  <c:v>52287.3</c:v>
                </c:pt>
                <c:pt idx="11">
                  <c:v>3060.89</c:v>
                </c:pt>
                <c:pt idx="12">
                  <c:v>1134.37</c:v>
                </c:pt>
                <c:pt idx="13">
                  <c:v>2001.56</c:v>
                </c:pt>
                <c:pt idx="14">
                  <c:v>23299.97</c:v>
                </c:pt>
                <c:pt idx="15">
                  <c:v>1462.55</c:v>
                </c:pt>
                <c:pt idx="16">
                  <c:v>3719.3</c:v>
                </c:pt>
                <c:pt idx="17">
                  <c:v>38978.5</c:v>
                </c:pt>
                <c:pt idx="18">
                  <c:v>8229.01</c:v>
                </c:pt>
                <c:pt idx="19">
                  <c:v>7578.0</c:v>
                </c:pt>
                <c:pt idx="20">
                  <c:v>2148.37</c:v>
                </c:pt>
                <c:pt idx="21">
                  <c:v>1580.85</c:v>
                </c:pt>
                <c:pt idx="22">
                  <c:v>5965.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88</a:t>
                    </a:r>
                  </a:p>
                  <a:p>
                    <a:r>
                      <a:t>1363.16</a:t>
                    </a:r>
                  </a:p>
                </c:rich>
              </c:tx>
              <c:dLblPos val="l"/>
              <c:showLegendKey val="0"/>
              <c:showVal val="1"/>
              <c:showCatName val="0"/>
              <c:showSerName val="0"/>
              <c:showPercent val="0"/>
              <c:showBubbleSize val="0"/>
            </c:dLbl>
            <c:dLbl>
              <c:idx val="4"/>
              <c:tx>
                <c:rich>
                  <a:bodyPr/>
                  <a:lstStyle/>
                  <a:p>
                    <a:r>
                      <a:t>IX 36</a:t>
                    </a:r>
                  </a:p>
                  <a:p>
                    <a:r>
                      <a:t>1228.0</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IX 100</a:t>
                    </a:r>
                  </a:p>
                  <a:p>
                    <a:r>
                      <a:t>1337.58</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IX 100</a:t>
                    </a:r>
                  </a:p>
                  <a:p>
                    <a:r>
                      <a:t>1254.25</a:t>
                    </a:r>
                  </a:p>
                </c:rich>
              </c:tx>
              <c:dLblPos val="l"/>
              <c:showLegendKey val="0"/>
              <c:showVal val="1"/>
              <c:showCatName val="0"/>
              <c:showSerName val="0"/>
              <c:showPercent val="0"/>
              <c:showBubbleSize val="0"/>
            </c:dLbl>
            <c:dLbl>
              <c:idx val="13"/>
              <c:tx>
                <c:rich>
                  <a:bodyPr/>
                  <a:lstStyle/>
                  <a:p>
                    <a:r>
                      <a:t>IX 100</a:t>
                    </a:r>
                  </a:p>
                  <a:p>
                    <a:r>
                      <a:t>1827.73</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IX 100</a:t>
                    </a:r>
                  </a:p>
                  <a:p>
                    <a:r>
                      <a:t>1460.28</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IX 0</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IX 100</a:t>
                    </a:r>
                  </a:p>
                  <a:p>
                    <a:r>
                      <a:t>4352.0</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IX 100</a:t>
                    </a:r>
                  </a:p>
                  <a:p>
                    <a:r>
                      <a:t>5965.05</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8</c:v>
                </c:pt>
                <c:pt idx="4">
                  <c:v>IX 36</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C$2:$C$25</c:f>
              <c:numCache>
                <c:formatCode>General</c:formatCode>
                <c:ptCount val="24"/>
                <c:pt idx="3">
                  <c:v>1363.16</c:v>
                </c:pt>
                <c:pt idx="4">
                  <c:v>1228.0</c:v>
                </c:pt>
                <c:pt idx="8">
                  <c:v>1337.58</c:v>
                </c:pt>
                <c:pt idx="12">
                  <c:v>1254.25</c:v>
                </c:pt>
                <c:pt idx="13">
                  <c:v>1827.73</c:v>
                </c:pt>
                <c:pt idx="15">
                  <c:v>1460.28</c:v>
                </c:pt>
                <c:pt idx="20">
                  <c:v>4352.0</c:v>
                </c:pt>
                <c:pt idx="22">
                  <c:v>5965.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8</c:v>
                </c:pt>
                <c:pt idx="4">
                  <c:v>IX 36</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D$2:$D$25</c:f>
              <c:numCache>
                <c:formatCode>General</c:formatCode>
                <c:ptCount val="24"/>
                <c:pt idx="0">
                  <c:v>12652.21</c:v>
                </c:pt>
                <c:pt idx="1">
                  <c:v>13336.99</c:v>
                </c:pt>
                <c:pt idx="2">
                  <c:v>2602.64</c:v>
                </c:pt>
                <c:pt idx="5">
                  <c:v>7712.97</c:v>
                </c:pt>
                <c:pt idx="6">
                  <c:v>3248.4</c:v>
                </c:pt>
                <c:pt idx="10">
                  <c:v>52272.41</c:v>
                </c:pt>
                <c:pt idx="16">
                  <c:v>278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8</c:v>
                </c:pt>
                <c:pt idx="4">
                  <c:v>IX 36</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E$2:$E$25</c:f>
              <c:numCache>
                <c:formatCode>General</c:formatCode>
                <c:ptCount val="24"/>
                <c:pt idx="0">
                  <c:v>8861.73</c:v>
                </c:pt>
                <c:pt idx="1">
                  <c:v>12718.69</c:v>
                </c:pt>
                <c:pt idx="2">
                  <c:v>11741.4</c:v>
                </c:pt>
                <c:pt idx="4">
                  <c:v>4963.47</c:v>
                </c:pt>
                <c:pt idx="5">
                  <c:v>6565.64</c:v>
                </c:pt>
                <c:pt idx="6">
                  <c:v>7110.06</c:v>
                </c:pt>
                <c:pt idx="11">
                  <c:v>5622.41</c:v>
                </c:pt>
                <c:pt idx="16">
                  <c:v>4909.51</c:v>
                </c:pt>
                <c:pt idx="19">
                  <c:v>6082.1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eiersdorf</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8</c:v>
                </c:pt>
                <c:pt idx="4">
                  <c:v>IX 36</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F$2:$F$25</c:f>
              <c:numCache>
                <c:formatCode>General</c:formatCode>
                <c:ptCount val="24"/>
                <c:pt idx="0">
                  <c:v>8494.21</c:v>
                </c:pt>
                <c:pt idx="1">
                  <c:v>12630.24</c:v>
                </c:pt>
                <c:pt idx="2">
                  <c:v>13017.66</c:v>
                </c:pt>
                <c:pt idx="3">
                  <c:v>1551.32</c:v>
                </c:pt>
                <c:pt idx="4">
                  <c:v>3440.36</c:v>
                </c:pt>
                <c:pt idx="5">
                  <c:v>4420.91</c:v>
                </c:pt>
                <c:pt idx="7">
                  <c:v>9642.0</c:v>
                </c:pt>
                <c:pt idx="9">
                  <c:v>1825.72</c:v>
                </c:pt>
                <c:pt idx="18">
                  <c:v>8170.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87.796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7</c:v>
                </c:pt>
                <c:pt idx="1">
                  <c:v/>
                </c:pt>
                <c:pt idx="2">
                  <c:v>IX 97</c:v>
                </c:pt>
                <c:pt idx="3">
                  <c:v/>
                </c:pt>
                <c:pt idx="4">
                  <c:v>IX 100</c:v>
                </c:pt>
                <c:pt idx="5">
                  <c:v/>
                </c:pt>
                <c:pt idx="6">
                  <c:v>IX 100</c:v>
                </c:pt>
                <c:pt idx="7">
                  <c:v>IX 100</c:v>
                </c:pt>
                <c:pt idx="8">
                  <c:v>IX 0</c:v>
                </c:pt>
                <c:pt idx="9">
                  <c:v/>
                </c:pt>
                <c:pt idx="10">
                  <c:v>IX 100</c:v>
                </c:pt>
                <c:pt idx="11">
                  <c:v/>
                </c:pt>
                <c:pt idx="12">
                  <c:v/>
                </c:pt>
                <c:pt idx="13">
                  <c:v/>
                </c:pt>
                <c:pt idx="14">
                  <c:v/>
                </c:pt>
                <c:pt idx="15">
                  <c:v/>
                </c:pt>
              </c:strCache>
            </c:strRef>
          </c:cat>
          <c:val>
            <c:numRef>
              <c:f>Sheet1!$B$2:$B$17</c:f>
              <c:numCache>
                <c:formatCode>General</c:formatCode>
                <c:ptCount val="16"/>
                <c:pt idx="0">
                  <c:v>1124.79</c:v>
                </c:pt>
                <c:pt idx="1">
                  <c:v>2094.53</c:v>
                </c:pt>
                <c:pt idx="2">
                  <c:v>1379.15</c:v>
                </c:pt>
                <c:pt idx="3">
                  <c:v>1828.08</c:v>
                </c:pt>
                <c:pt idx="4">
                  <c:v>686.5</c:v>
                </c:pt>
                <c:pt idx="5">
                  <c:v>1874.19</c:v>
                </c:pt>
                <c:pt idx="6">
                  <c:v>1045.02</c:v>
                </c:pt>
                <c:pt idx="7">
                  <c:v>2064.52</c:v>
                </c:pt>
                <c:pt idx="8">
                  <c:v>768.52</c:v>
                </c:pt>
                <c:pt idx="9">
                  <c:v>13214.68</c:v>
                </c:pt>
                <c:pt idx="10">
                  <c:v>1108.83</c:v>
                </c:pt>
                <c:pt idx="11">
                  <c:v>6042.8</c:v>
                </c:pt>
                <c:pt idx="12">
                  <c:v>891.14</c:v>
                </c:pt>
                <c:pt idx="13">
                  <c:v>18560.0</c:v>
                </c:pt>
                <c:pt idx="14">
                  <c:v>3787.8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7</a:t>
                    </a:r>
                  </a:p>
                  <a:p>
                    <a:r>
                      <a:t>1007.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97</a:t>
                    </a:r>
                  </a:p>
                  <a:p>
                    <a:r>
                      <a:t>1340.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167.46</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1045.02</a:t>
                    </a:r>
                  </a:p>
                </c:rich>
              </c:tx>
              <c:dLblPos val="l"/>
              <c:showLegendKey val="0"/>
              <c:showVal val="1"/>
              <c:showCatName val="0"/>
              <c:showSerName val="0"/>
              <c:showPercent val="0"/>
              <c:showBubbleSize val="0"/>
            </c:dLbl>
            <c:dLbl>
              <c:idx val="7"/>
              <c:tx>
                <c:rich>
                  <a:bodyPr/>
                  <a:lstStyle/>
                  <a:p>
                    <a:r>
                      <a:t>IX 100</a:t>
                    </a:r>
                  </a:p>
                  <a:p>
                    <a:r>
                      <a:t>2099.76</a:t>
                    </a:r>
                  </a:p>
                </c:rich>
              </c:tx>
              <c:dLblPos val="l"/>
              <c:showLegendKey val="0"/>
              <c:showVal val="1"/>
              <c:showCatName val="0"/>
              <c:showSerName val="0"/>
              <c:showPercent val="0"/>
              <c:showBubbleSize val="0"/>
            </c:dLbl>
            <c:dLbl>
              <c:idx val="8"/>
              <c:tx>
                <c:rich>
                  <a:bodyPr/>
                  <a:lstStyle/>
                  <a:p>
                    <a:r>
                      <a:t>IX 0</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1224.22</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7</c:v>
                </c:pt>
                <c:pt idx="1">
                  <c:v/>
                </c:pt>
                <c:pt idx="2">
                  <c:v>IX 97</c:v>
                </c:pt>
                <c:pt idx="3">
                  <c:v/>
                </c:pt>
                <c:pt idx="4">
                  <c:v>IX 100</c:v>
                </c:pt>
                <c:pt idx="5">
                  <c:v/>
                </c:pt>
                <c:pt idx="6">
                  <c:v>IX 100</c:v>
                </c:pt>
                <c:pt idx="7">
                  <c:v>IX 100</c:v>
                </c:pt>
                <c:pt idx="8">
                  <c:v>IX 0</c:v>
                </c:pt>
                <c:pt idx="9">
                  <c:v/>
                </c:pt>
                <c:pt idx="10">
                  <c:v>IX 100</c:v>
                </c:pt>
                <c:pt idx="11">
                  <c:v/>
                </c:pt>
                <c:pt idx="12">
                  <c:v/>
                </c:pt>
                <c:pt idx="13">
                  <c:v/>
                </c:pt>
                <c:pt idx="14">
                  <c:v/>
                </c:pt>
                <c:pt idx="15">
                  <c:v/>
                </c:pt>
              </c:strCache>
            </c:strRef>
          </c:cat>
          <c:val>
            <c:numRef>
              <c:f>Sheet1!$C$2:$C$17</c:f>
              <c:numCache>
                <c:formatCode>General</c:formatCode>
                <c:ptCount val="16"/>
                <c:pt idx="0">
                  <c:v>1007.67</c:v>
                </c:pt>
                <c:pt idx="2">
                  <c:v>1340.6</c:v>
                </c:pt>
                <c:pt idx="4">
                  <c:v>1167.46</c:v>
                </c:pt>
                <c:pt idx="6">
                  <c:v>1045.02</c:v>
                </c:pt>
                <c:pt idx="7">
                  <c:v>2099.76</c:v>
                </c:pt>
                <c:pt idx="10">
                  <c:v>122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7</c:v>
                </c:pt>
                <c:pt idx="1">
                  <c:v/>
                </c:pt>
                <c:pt idx="2">
                  <c:v>IX 97</c:v>
                </c:pt>
                <c:pt idx="3">
                  <c:v/>
                </c:pt>
                <c:pt idx="4">
                  <c:v>IX 100</c:v>
                </c:pt>
                <c:pt idx="5">
                  <c:v/>
                </c:pt>
                <c:pt idx="6">
                  <c:v>IX 100</c:v>
                </c:pt>
                <c:pt idx="7">
                  <c:v>IX 100</c:v>
                </c:pt>
                <c:pt idx="8">
                  <c:v>IX 0</c:v>
                </c:pt>
                <c:pt idx="9">
                  <c:v/>
                </c:pt>
                <c:pt idx="10">
                  <c:v>IX 100</c:v>
                </c:pt>
                <c:pt idx="11">
                  <c:v/>
                </c:pt>
                <c:pt idx="12">
                  <c:v/>
                </c:pt>
                <c:pt idx="13">
                  <c:v/>
                </c:pt>
                <c:pt idx="14">
                  <c:v/>
                </c:pt>
                <c:pt idx="15">
                  <c:v/>
                </c:pt>
              </c:strCache>
            </c:strRef>
          </c:cat>
          <c:val>
            <c:numRef>
              <c:f>Sheet1!$D$2:$D$17</c:f>
              <c:numCache>
                <c:formatCode>General</c:formatCode>
                <c:ptCount val="16"/>
                <c:pt idx="0">
                  <c:v>2717.15</c:v>
                </c:pt>
                <c:pt idx="2">
                  <c:v>1382.31</c:v>
                </c:pt>
                <c:pt idx="3">
                  <c:v>1828.08</c:v>
                </c:pt>
                <c:pt idx="14">
                  <c:v>3607.6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7</c:v>
                </c:pt>
                <c:pt idx="1">
                  <c:v/>
                </c:pt>
                <c:pt idx="2">
                  <c:v>IX 97</c:v>
                </c:pt>
                <c:pt idx="3">
                  <c:v/>
                </c:pt>
                <c:pt idx="4">
                  <c:v>IX 100</c:v>
                </c:pt>
                <c:pt idx="5">
                  <c:v/>
                </c:pt>
                <c:pt idx="6">
                  <c:v>IX 100</c:v>
                </c:pt>
                <c:pt idx="7">
                  <c:v>IX 100</c:v>
                </c:pt>
                <c:pt idx="8">
                  <c:v>IX 0</c:v>
                </c:pt>
                <c:pt idx="9">
                  <c:v/>
                </c:pt>
                <c:pt idx="10">
                  <c:v>IX 100</c:v>
                </c:pt>
                <c:pt idx="11">
                  <c:v/>
                </c:pt>
                <c:pt idx="12">
                  <c:v/>
                </c:pt>
                <c:pt idx="13">
                  <c:v/>
                </c:pt>
                <c:pt idx="14">
                  <c:v/>
                </c:pt>
                <c:pt idx="15">
                  <c:v/>
                </c:pt>
              </c:strCache>
            </c:strRef>
          </c:cat>
          <c:val>
            <c:numRef>
              <c:f>Sheet1!$E$2:$E$17</c:f>
              <c:numCache>
                <c:formatCode>General</c:formatCode>
                <c:ptCount val="16"/>
                <c:pt idx="1">
                  <c:v>8692.82</c:v>
                </c:pt>
                <c:pt idx="5">
                  <c:v>1874.19</c:v>
                </c:pt>
                <c:pt idx="9">
                  <c:v>13214.6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7</c:v>
                </c:pt>
                <c:pt idx="1">
                  <c:v/>
                </c:pt>
                <c:pt idx="2">
                  <c:v>IX 97</c:v>
                </c:pt>
                <c:pt idx="3">
                  <c:v/>
                </c:pt>
                <c:pt idx="4">
                  <c:v>IX 100</c:v>
                </c:pt>
                <c:pt idx="5">
                  <c:v/>
                </c:pt>
                <c:pt idx="6">
                  <c:v>IX 100</c:v>
                </c:pt>
                <c:pt idx="7">
                  <c:v>IX 100</c:v>
                </c:pt>
                <c:pt idx="8">
                  <c:v>IX 0</c:v>
                </c:pt>
                <c:pt idx="9">
                  <c:v/>
                </c:pt>
                <c:pt idx="10">
                  <c:v>IX 100</c:v>
                </c:pt>
                <c:pt idx="11">
                  <c:v/>
                </c:pt>
                <c:pt idx="12">
                  <c:v/>
                </c:pt>
                <c:pt idx="13">
                  <c:v/>
                </c:pt>
                <c:pt idx="14">
                  <c:v/>
                </c:pt>
                <c:pt idx="15">
                  <c:v/>
                </c:pt>
              </c:strCache>
            </c:strRef>
          </c:cat>
          <c:val>
            <c:numRef>
              <c:f>Sheet1!$F$2:$F$17</c:f>
              <c:numCache>
                <c:formatCode>General</c:formatCode>
                <c:ptCount val="16"/>
                <c:pt idx="11">
                  <c:v>6042.8</c:v>
                </c:pt>
                <c:pt idx="14">
                  <c:v>4328.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56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9</c:v>
                </c:pt>
                <c:pt idx="1">
                  <c:v>IX 98</c:v>
                </c:pt>
                <c:pt idx="2">
                  <c:v/>
                </c:pt>
                <c:pt idx="3">
                  <c:v/>
                </c:pt>
                <c:pt idx="4">
                  <c:v>IX 100</c:v>
                </c:pt>
                <c:pt idx="5">
                  <c:v>IX 100</c:v>
                </c:pt>
                <c:pt idx="6">
                  <c:v>IX 100</c:v>
                </c:pt>
                <c:pt idx="7">
                  <c:v/>
                </c:pt>
                <c:pt idx="8">
                  <c:v/>
                </c:pt>
                <c:pt idx="9">
                  <c:v/>
                </c:pt>
                <c:pt idx="10">
                  <c:v>IX 100</c:v>
                </c:pt>
                <c:pt idx="11">
                  <c:v/>
                </c:pt>
                <c:pt idx="12">
                  <c:v>IX 91</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B$2:$B$27</c:f>
              <c:numCache>
                <c:formatCode>General</c:formatCode>
                <c:ptCount val="26"/>
                <c:pt idx="0">
                  <c:v>1308.64</c:v>
                </c:pt>
                <c:pt idx="1">
                  <c:v>1333.14</c:v>
                </c:pt>
                <c:pt idx="2">
                  <c:v>4196.25</c:v>
                </c:pt>
                <c:pt idx="3">
                  <c:v>1392.42</c:v>
                </c:pt>
                <c:pt idx="4">
                  <c:v>1196.97</c:v>
                </c:pt>
                <c:pt idx="5">
                  <c:v>862.07</c:v>
                </c:pt>
                <c:pt idx="6">
                  <c:v>1373.74</c:v>
                </c:pt>
                <c:pt idx="7">
                  <c:v>13667.19</c:v>
                </c:pt>
                <c:pt idx="8">
                  <c:v>4308.22</c:v>
                </c:pt>
                <c:pt idx="9">
                  <c:v>5583.2</c:v>
                </c:pt>
                <c:pt idx="10">
                  <c:v>1546.69</c:v>
                </c:pt>
                <c:pt idx="11">
                  <c:v>3072.75</c:v>
                </c:pt>
                <c:pt idx="12">
                  <c:v>6183.84</c:v>
                </c:pt>
                <c:pt idx="13">
                  <c:v>5288.91</c:v>
                </c:pt>
                <c:pt idx="14">
                  <c:v>18187.01</c:v>
                </c:pt>
                <c:pt idx="15">
                  <c:v>1571.44</c:v>
                </c:pt>
                <c:pt idx="16">
                  <c:v>61148.21</c:v>
                </c:pt>
                <c:pt idx="17">
                  <c:v>4187.38</c:v>
                </c:pt>
                <c:pt idx="18">
                  <c:v>1636.52</c:v>
                </c:pt>
                <c:pt idx="19">
                  <c:v>2773.41</c:v>
                </c:pt>
                <c:pt idx="20">
                  <c:v>5981.91</c:v>
                </c:pt>
                <c:pt idx="21">
                  <c:v>1048.63</c:v>
                </c:pt>
                <c:pt idx="22">
                  <c:v>2888.57</c:v>
                </c:pt>
                <c:pt idx="23">
                  <c:v>2885.89</c:v>
                </c:pt>
                <c:pt idx="24">
                  <c:v>5085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9</a:t>
                    </a:r>
                  </a:p>
                  <a:p>
                    <a:r>
                      <a:t>1121.07</a:t>
                    </a:r>
                  </a:p>
                </c:rich>
              </c:tx>
              <c:dLblPos val="l"/>
              <c:showLegendKey val="0"/>
              <c:showVal val="1"/>
              <c:showCatName val="0"/>
              <c:showSerName val="0"/>
              <c:showPercent val="0"/>
              <c:showBubbleSize val="0"/>
            </c:dLbl>
            <c:dLbl>
              <c:idx val="1"/>
              <c:tx>
                <c:rich>
                  <a:bodyPr/>
                  <a:lstStyle/>
                  <a:p>
                    <a:r>
                      <a:t>IX 98</a:t>
                    </a:r>
                  </a:p>
                  <a:p>
                    <a:r>
                      <a:t>1319.8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196.67</a:t>
                    </a:r>
                  </a:p>
                </c:rich>
              </c:tx>
              <c:dLblPos val="l"/>
              <c:showLegendKey val="0"/>
              <c:showVal val="1"/>
              <c:showCatName val="0"/>
              <c:showSerName val="0"/>
              <c:showPercent val="0"/>
              <c:showBubbleSize val="0"/>
            </c:dLbl>
            <c:dLbl>
              <c:idx val="5"/>
              <c:tx>
                <c:rich>
                  <a:bodyPr/>
                  <a:lstStyle/>
                  <a:p>
                    <a:r>
                      <a:t>IX 100</a:t>
                    </a:r>
                  </a:p>
                  <a:p>
                    <a:r>
                      <a:t>1075.03</a:t>
                    </a:r>
                  </a:p>
                </c:rich>
              </c:tx>
              <c:dLblPos val="l"/>
              <c:showLegendKey val="0"/>
              <c:showVal val="1"/>
              <c:showCatName val="0"/>
              <c:showSerName val="0"/>
              <c:showPercent val="0"/>
              <c:showBubbleSize val="0"/>
            </c:dLbl>
            <c:dLbl>
              <c:idx val="6"/>
              <c:tx>
                <c:rich>
                  <a:bodyPr/>
                  <a:lstStyle/>
                  <a:p>
                    <a:r>
                      <a:t>IX 100</a:t>
                    </a:r>
                  </a:p>
                  <a:p>
                    <a:r>
                      <a:t>1349.98</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1532.62</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IX 91</a:t>
                    </a:r>
                  </a:p>
                  <a:p>
                    <a:r>
                      <a:t>5633.8</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IX 100</a:t>
                    </a:r>
                  </a:p>
                  <a:p>
                    <a:r>
                      <a:t>1095.58</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IX 100</a:t>
                    </a:r>
                  </a:p>
                  <a:p>
                    <a:r>
                      <a:t>630.99</a:t>
                    </a:r>
                  </a:p>
                </c:rich>
              </c:tx>
              <c:dLblPos val="l"/>
              <c:showLegendKey val="0"/>
              <c:showVal val="1"/>
              <c:showCatName val="0"/>
              <c:showSerName val="0"/>
              <c:showPercent val="0"/>
              <c:showBubbleSize val="0"/>
            </c:dLbl>
            <c:dLbl>
              <c:idx val="22"/>
              <c:tx>
                <c:rich>
                  <a:bodyPr/>
                  <a:lstStyle/>
                  <a:p>
                    <a:r>
                      <a:t>IX 100</a:t>
                    </a:r>
                  </a:p>
                  <a:p>
                    <a:r>
                      <a:t>2888.57</a:t>
                    </a:r>
                  </a:p>
                </c:rich>
              </c:tx>
              <c:dLblPos val="l"/>
              <c:showLegendKey val="0"/>
              <c:showVal val="1"/>
              <c:showCatName val="0"/>
              <c:showSerName val="0"/>
              <c:showPercent val="0"/>
              <c:showBubbleSize val="0"/>
            </c:dLbl>
            <c:dLbl>
              <c:idx val="23"/>
              <c:tx>
                <c:rich>
                  <a:bodyPr/>
                  <a:lstStyle/>
                  <a:p>
                    <a:r>
                      <a:t>IX 100</a:t>
                    </a:r>
                  </a:p>
                  <a:p>
                    <a:r>
                      <a:t>2885.89</a:t>
                    </a:r>
                  </a:p>
                </c:rich>
              </c:tx>
              <c:dLblPos val="l"/>
              <c:showLegendKey val="0"/>
              <c:showVal val="1"/>
              <c:showCatName val="0"/>
              <c:showSerName val="0"/>
              <c:showPercent val="0"/>
              <c:showBubbleSize val="0"/>
            </c:dLbl>
            <c:dLbl>
              <c:idx val="24"/>
              <c:tx>
                <c:rich>
                  <a:bodyPr/>
                  <a:lstStyle/>
                  <a:p>
                    <a:r>
                      <a:t>None</a:t>
                    </a:r>
                  </a:p>
                  <a:p>
                    <a:r>
                      <a:t>None</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9</c:v>
                </c:pt>
                <c:pt idx="1">
                  <c:v>IX 98</c:v>
                </c:pt>
                <c:pt idx="2">
                  <c:v/>
                </c:pt>
                <c:pt idx="3">
                  <c:v/>
                </c:pt>
                <c:pt idx="4">
                  <c:v>IX 100</c:v>
                </c:pt>
                <c:pt idx="5">
                  <c:v>IX 100</c:v>
                </c:pt>
                <c:pt idx="6">
                  <c:v>IX 100</c:v>
                </c:pt>
                <c:pt idx="7">
                  <c:v/>
                </c:pt>
                <c:pt idx="8">
                  <c:v/>
                </c:pt>
                <c:pt idx="9">
                  <c:v/>
                </c:pt>
                <c:pt idx="10">
                  <c:v>IX 100</c:v>
                </c:pt>
                <c:pt idx="11">
                  <c:v/>
                </c:pt>
                <c:pt idx="12">
                  <c:v>IX 91</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C$2:$C$27</c:f>
              <c:numCache>
                <c:formatCode>General</c:formatCode>
                <c:ptCount val="26"/>
                <c:pt idx="0">
                  <c:v>1121.07</c:v>
                </c:pt>
                <c:pt idx="1">
                  <c:v>1319.85</c:v>
                </c:pt>
                <c:pt idx="4">
                  <c:v>1196.67</c:v>
                </c:pt>
                <c:pt idx="5">
                  <c:v>1075.03</c:v>
                </c:pt>
                <c:pt idx="6">
                  <c:v>1349.98</c:v>
                </c:pt>
                <c:pt idx="10">
                  <c:v>1532.62</c:v>
                </c:pt>
                <c:pt idx="12">
                  <c:v>5633.8</c:v>
                </c:pt>
                <c:pt idx="15">
                  <c:v>1095.58</c:v>
                </c:pt>
                <c:pt idx="21">
                  <c:v>630.99</c:v>
                </c:pt>
                <c:pt idx="22">
                  <c:v>2888.57</c:v>
                </c:pt>
                <c:pt idx="23">
                  <c:v>2885.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9</c:v>
                </c:pt>
                <c:pt idx="1">
                  <c:v>IX 98</c:v>
                </c:pt>
                <c:pt idx="2">
                  <c:v/>
                </c:pt>
                <c:pt idx="3">
                  <c:v/>
                </c:pt>
                <c:pt idx="4">
                  <c:v>IX 100</c:v>
                </c:pt>
                <c:pt idx="5">
                  <c:v>IX 100</c:v>
                </c:pt>
                <c:pt idx="6">
                  <c:v>IX 100</c:v>
                </c:pt>
                <c:pt idx="7">
                  <c:v/>
                </c:pt>
                <c:pt idx="8">
                  <c:v/>
                </c:pt>
                <c:pt idx="9">
                  <c:v/>
                </c:pt>
                <c:pt idx="10">
                  <c:v>IX 100</c:v>
                </c:pt>
                <c:pt idx="11">
                  <c:v/>
                </c:pt>
                <c:pt idx="12">
                  <c:v>IX 91</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D$2:$D$27</c:f>
              <c:numCache>
                <c:formatCode>General</c:formatCode>
                <c:ptCount val="26"/>
                <c:pt idx="0">
                  <c:v>2304.94</c:v>
                </c:pt>
                <c:pt idx="1">
                  <c:v>1341.59</c:v>
                </c:pt>
                <c:pt idx="2">
                  <c:v>8064.15</c:v>
                </c:pt>
                <c:pt idx="3">
                  <c:v>1392.25</c:v>
                </c:pt>
                <c:pt idx="7">
                  <c:v>11313.55</c:v>
                </c:pt>
                <c:pt idx="8">
                  <c:v>11375.34</c:v>
                </c:pt>
                <c:pt idx="9">
                  <c:v>3641.99</c:v>
                </c:pt>
                <c:pt idx="12">
                  <c:v>6200.36</c:v>
                </c:pt>
                <c:pt idx="20">
                  <c:v>5394.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9</c:v>
                </c:pt>
                <c:pt idx="1">
                  <c:v>IX 98</c:v>
                </c:pt>
                <c:pt idx="2">
                  <c:v/>
                </c:pt>
                <c:pt idx="3">
                  <c:v/>
                </c:pt>
                <c:pt idx="4">
                  <c:v>IX 100</c:v>
                </c:pt>
                <c:pt idx="5">
                  <c:v>IX 100</c:v>
                </c:pt>
                <c:pt idx="6">
                  <c:v>IX 100</c:v>
                </c:pt>
                <c:pt idx="7">
                  <c:v/>
                </c:pt>
                <c:pt idx="8">
                  <c:v/>
                </c:pt>
                <c:pt idx="9">
                  <c:v/>
                </c:pt>
                <c:pt idx="10">
                  <c:v>IX 100</c:v>
                </c:pt>
                <c:pt idx="11">
                  <c:v/>
                </c:pt>
                <c:pt idx="12">
                  <c:v>IX 91</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E$2:$E$27</c:f>
              <c:numCache>
                <c:formatCode>General</c:formatCode>
                <c:ptCount val="26"/>
                <c:pt idx="0">
                  <c:v>4721.43</c:v>
                </c:pt>
                <c:pt idx="2">
                  <c:v>8066.1</c:v>
                </c:pt>
                <c:pt idx="7">
                  <c:v>12257.14</c:v>
                </c:pt>
                <c:pt idx="8">
                  <c:v>11667.33</c:v>
                </c:pt>
                <c:pt idx="9">
                  <c:v>6312.49</c:v>
                </c:pt>
                <c:pt idx="11">
                  <c:v>6025.76</c:v>
                </c:pt>
                <c:pt idx="13">
                  <c:v>5288.91</c:v>
                </c:pt>
                <c:pt idx="17">
                  <c:v>5119.09</c:v>
                </c:pt>
                <c:pt idx="19">
                  <c:v>2877.0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9</c:v>
                </c:pt>
                <c:pt idx="1">
                  <c:v>IX 98</c:v>
                </c:pt>
                <c:pt idx="2">
                  <c:v/>
                </c:pt>
                <c:pt idx="3">
                  <c:v/>
                </c:pt>
                <c:pt idx="4">
                  <c:v>IX 100</c:v>
                </c:pt>
                <c:pt idx="5">
                  <c:v>IX 100</c:v>
                </c:pt>
                <c:pt idx="6">
                  <c:v>IX 100</c:v>
                </c:pt>
                <c:pt idx="7">
                  <c:v/>
                </c:pt>
                <c:pt idx="8">
                  <c:v/>
                </c:pt>
                <c:pt idx="9">
                  <c:v/>
                </c:pt>
                <c:pt idx="10">
                  <c:v>IX 100</c:v>
                </c:pt>
                <c:pt idx="11">
                  <c:v/>
                </c:pt>
                <c:pt idx="12">
                  <c:v>IX 91</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F$2:$F$27</c:f>
              <c:numCache>
                <c:formatCode>General</c:formatCode>
                <c:ptCount val="26"/>
                <c:pt idx="2">
                  <c:v>12548.96</c:v>
                </c:pt>
                <c:pt idx="7">
                  <c:v>14196.87</c:v>
                </c:pt>
                <c:pt idx="8">
                  <c:v>2469.05</c:v>
                </c:pt>
                <c:pt idx="9">
                  <c:v>7565.55</c:v>
                </c:pt>
                <c:pt idx="11">
                  <c:v>3055.81</c:v>
                </c:pt>
                <c:pt idx="16">
                  <c:v>61148.21</c:v>
                </c:pt>
                <c:pt idx="17">
                  <c:v>3020.9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148.7078"/>
          <c:min val="630.48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6</c:v>
                </c:pt>
                <c:pt idx="2">
                  <c:v>IX 91</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IX 100</c:v>
                </c:pt>
                <c:pt idx="28">
                  <c:v/>
                </c:pt>
              </c:strCache>
            </c:strRef>
          </c:cat>
          <c:val>
            <c:numRef>
              <c:f>Sheet1!$B$2:$B$30</c:f>
              <c:numCache>
                <c:formatCode>General</c:formatCode>
                <c:ptCount val="29"/>
                <c:pt idx="0">
                  <c:v>6133.52</c:v>
                </c:pt>
                <c:pt idx="1">
                  <c:v>1350.75</c:v>
                </c:pt>
                <c:pt idx="2">
                  <c:v>1409.13</c:v>
                </c:pt>
                <c:pt idx="3">
                  <c:v>13033.69</c:v>
                </c:pt>
                <c:pt idx="4">
                  <c:v>5133.11</c:v>
                </c:pt>
                <c:pt idx="5">
                  <c:v>1493.23</c:v>
                </c:pt>
                <c:pt idx="6">
                  <c:v>4974.4</c:v>
                </c:pt>
                <c:pt idx="7">
                  <c:v>1222.87</c:v>
                </c:pt>
                <c:pt idx="8">
                  <c:v>905.72</c:v>
                </c:pt>
                <c:pt idx="9">
                  <c:v>1466.93</c:v>
                </c:pt>
                <c:pt idx="10">
                  <c:v>3908.45</c:v>
                </c:pt>
                <c:pt idx="11">
                  <c:v>9679.45</c:v>
                </c:pt>
                <c:pt idx="12">
                  <c:v>48119.47</c:v>
                </c:pt>
                <c:pt idx="13">
                  <c:v>1484.06</c:v>
                </c:pt>
                <c:pt idx="14">
                  <c:v>2896.55</c:v>
                </c:pt>
                <c:pt idx="15">
                  <c:v>6514.47</c:v>
                </c:pt>
                <c:pt idx="16">
                  <c:v>3466.18</c:v>
                </c:pt>
                <c:pt idx="17">
                  <c:v>5721.79</c:v>
                </c:pt>
                <c:pt idx="18">
                  <c:v>22252.92</c:v>
                </c:pt>
                <c:pt idx="19">
                  <c:v>16528.85</c:v>
                </c:pt>
                <c:pt idx="20">
                  <c:v>1378.86</c:v>
                </c:pt>
                <c:pt idx="21">
                  <c:v>1695.21</c:v>
                </c:pt>
                <c:pt idx="22">
                  <c:v>1003.98</c:v>
                </c:pt>
                <c:pt idx="23">
                  <c:v>2777.42</c:v>
                </c:pt>
                <c:pt idx="24">
                  <c:v>2744.05</c:v>
                </c:pt>
                <c:pt idx="25">
                  <c:v>20387.0</c:v>
                </c:pt>
                <c:pt idx="26">
                  <c:v>15748.0</c:v>
                </c:pt>
                <c:pt idx="27">
                  <c:v>142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6</a:t>
                    </a:r>
                  </a:p>
                  <a:p>
                    <a:r>
                      <a:t>1156.16</a:t>
                    </a:r>
                  </a:p>
                </c:rich>
              </c:tx>
              <c:dLblPos val="l"/>
              <c:showLegendKey val="0"/>
              <c:showVal val="1"/>
              <c:showCatName val="0"/>
              <c:showSerName val="0"/>
              <c:showPercent val="0"/>
              <c:showBubbleSize val="0"/>
            </c:dLbl>
            <c:dLbl>
              <c:idx val="2"/>
              <c:tx>
                <c:rich>
                  <a:bodyPr/>
                  <a:lstStyle/>
                  <a:p>
                    <a:r>
                      <a:t>IX 91</a:t>
                    </a:r>
                  </a:p>
                  <a:p>
                    <a:r>
                      <a:t>1264.6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IX 100</a:t>
                    </a:r>
                  </a:p>
                  <a:p>
                    <a:r>
                      <a:t>1190.95</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None</a:t>
                    </a:r>
                  </a:p>
                  <a:p>
                    <a:r>
                      <a:t>None</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dLbl>
              <c:idx val="24"/>
              <c:tx>
                <c:rich>
                  <a:bodyPr/>
                  <a:lstStyle/>
                  <a:p>
                    <a:r>
                      <a:t>None</a:t>
                    </a:r>
                  </a:p>
                  <a:p>
                    <a:r>
                      <a:t>None</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dLbl>
              <c:idx val="26"/>
              <c:tx>
                <c:rich>
                  <a:bodyPr/>
                  <a:lstStyle/>
                  <a:p>
                    <a:r>
                      <a:t>None</a:t>
                    </a:r>
                  </a:p>
                  <a:p>
                    <a:r>
                      <a:t>None</a:t>
                    </a:r>
                  </a:p>
                </c:rich>
              </c:tx>
              <c:dLblPos val="l"/>
              <c:showLegendKey val="0"/>
              <c:showVal val="1"/>
              <c:showCatName val="0"/>
              <c:showSerName val="0"/>
              <c:showPercent val="0"/>
              <c:showBubbleSize val="0"/>
            </c:dLbl>
            <c:dLbl>
              <c:idx val="27"/>
              <c:tx>
                <c:rich>
                  <a:bodyPr/>
                  <a:lstStyle/>
                  <a:p>
                    <a:r>
                      <a:t>IX 100</a:t>
                    </a:r>
                  </a:p>
                  <a:p>
                    <a:r>
                      <a:t>1420.8</a:t>
                    </a:r>
                  </a:p>
                </c:rich>
              </c:tx>
              <c:dLblPos val="l"/>
              <c:showLegendKey val="0"/>
              <c:showVal val="1"/>
              <c:showCatName val="0"/>
              <c:showSerName val="0"/>
              <c:showPercent val="0"/>
              <c:showBubbleSize val="0"/>
            </c:dLbl>
            <c:dLbl>
              <c:idx val="28"/>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6</c:v>
                </c:pt>
                <c:pt idx="2">
                  <c:v>IX 91</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IX 100</c:v>
                </c:pt>
                <c:pt idx="28">
                  <c:v/>
                </c:pt>
              </c:strCache>
            </c:strRef>
          </c:cat>
          <c:val>
            <c:numRef>
              <c:f>Sheet1!$C$2:$C$30</c:f>
              <c:numCache>
                <c:formatCode>General</c:formatCode>
                <c:ptCount val="29"/>
                <c:pt idx="1">
                  <c:v>1156.16</c:v>
                </c:pt>
                <c:pt idx="2">
                  <c:v>1264.63</c:v>
                </c:pt>
                <c:pt idx="7">
                  <c:v>1190.95</c:v>
                </c:pt>
                <c:pt idx="27">
                  <c:v>1420.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6</c:v>
                </c:pt>
                <c:pt idx="2">
                  <c:v>IX 91</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IX 100</c:v>
                </c:pt>
                <c:pt idx="28">
                  <c:v/>
                </c:pt>
              </c:strCache>
            </c:strRef>
          </c:cat>
          <c:val>
            <c:numRef>
              <c:f>Sheet1!$D$2:$D$30</c:f>
              <c:numCache>
                <c:formatCode>General</c:formatCode>
                <c:ptCount val="29"/>
                <c:pt idx="0">
                  <c:v>12358.24</c:v>
                </c:pt>
                <c:pt idx="3">
                  <c:v>12979.89</c:v>
                </c:pt>
                <c:pt idx="4">
                  <c:v>2556.52</c:v>
                </c:pt>
                <c:pt idx="6">
                  <c:v>7350.95</c:v>
                </c:pt>
                <c:pt idx="10">
                  <c:v>3161.84</c:v>
                </c:pt>
                <c:pt idx="12">
                  <c:v>48001.13</c:v>
                </c:pt>
                <c:pt idx="16">
                  <c:v>2673.1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6</c:v>
                </c:pt>
                <c:pt idx="2">
                  <c:v>IX 91</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IX 100</c:v>
                </c:pt>
                <c:pt idx="28">
                  <c:v/>
                </c:pt>
              </c:strCache>
            </c:strRef>
          </c:cat>
          <c:val>
            <c:numRef>
              <c:f>Sheet1!$E$2:$E$30</c:f>
              <c:numCache>
                <c:formatCode>General</c:formatCode>
                <c:ptCount val="29"/>
                <c:pt idx="0">
                  <c:v>11707.12</c:v>
                </c:pt>
                <c:pt idx="3">
                  <c:v>12302.61</c:v>
                </c:pt>
                <c:pt idx="4">
                  <c:v>11483.51</c:v>
                </c:pt>
                <c:pt idx="6">
                  <c:v>7005.15</c:v>
                </c:pt>
                <c:pt idx="10">
                  <c:v>6280.08</c:v>
                </c:pt>
                <c:pt idx="14">
                  <c:v>4860.49</c:v>
                </c:pt>
                <c:pt idx="16">
                  <c:v>4265.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6</c:v>
                </c:pt>
                <c:pt idx="2">
                  <c:v>IX 91</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IX 100</c:v>
                </c:pt>
                <c:pt idx="28">
                  <c:v/>
                </c:pt>
              </c:strCache>
            </c:strRef>
          </c:cat>
          <c:val>
            <c:numRef>
              <c:f>Sheet1!$F$2:$F$30</c:f>
              <c:numCache>
                <c:formatCode>General</c:formatCode>
                <c:ptCount val="29"/>
                <c:pt idx="1">
                  <c:v>2538.46</c:v>
                </c:pt>
                <c:pt idx="2">
                  <c:v>1389.6</c:v>
                </c:pt>
                <c:pt idx="5">
                  <c:v>1488.21</c:v>
                </c:pt>
                <c:pt idx="13">
                  <c:v>668.57</c:v>
                </c:pt>
                <c:pt idx="15">
                  <c:v>6552.8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8119.969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2</c:v>
                </c:pt>
                <c:pt idx="2">
                  <c:v>IX 91</c:v>
                </c:pt>
                <c:pt idx="3">
                  <c:v/>
                </c:pt>
                <c:pt idx="4">
                  <c:v/>
                </c:pt>
                <c:pt idx="5">
                  <c:v/>
                </c:pt>
                <c:pt idx="6">
                  <c:v/>
                </c:pt>
                <c:pt idx="7">
                  <c:v>IX 100</c:v>
                </c:pt>
                <c:pt idx="8">
                  <c:v>IX 100</c:v>
                </c:pt>
                <c:pt idx="9">
                  <c:v>IX 100</c:v>
                </c:pt>
                <c:pt idx="10">
                  <c:v/>
                </c:pt>
                <c:pt idx="11">
                  <c:v/>
                </c:pt>
                <c:pt idx="12">
                  <c:v/>
                </c:pt>
                <c:pt idx="13">
                  <c:v>IX 100</c:v>
                </c:pt>
                <c:pt idx="14">
                  <c:v/>
                </c:pt>
                <c:pt idx="15">
                  <c:v>IX 85</c:v>
                </c:pt>
                <c:pt idx="16">
                  <c:v/>
                </c:pt>
                <c:pt idx="17">
                  <c:v/>
                </c:pt>
                <c:pt idx="18">
                  <c:v/>
                </c:pt>
                <c:pt idx="19">
                  <c:v/>
                </c:pt>
                <c:pt idx="20">
                  <c:v>IX 100</c:v>
                </c:pt>
                <c:pt idx="21">
                  <c:v>IX 100</c:v>
                </c:pt>
                <c:pt idx="22">
                  <c:v>IX 100</c:v>
                </c:pt>
                <c:pt idx="23">
                  <c:v>IX 100</c:v>
                </c:pt>
                <c:pt idx="24">
                  <c:v>IX 100</c:v>
                </c:pt>
                <c:pt idx="25">
                  <c:v/>
                </c:pt>
                <c:pt idx="26">
                  <c:v/>
                </c:pt>
                <c:pt idx="27">
                  <c:v/>
                </c:pt>
                <c:pt idx="28">
                  <c:v/>
                </c:pt>
              </c:strCache>
            </c:strRef>
          </c:cat>
          <c:val>
            <c:numRef>
              <c:f>Sheet1!$B$2:$B$30</c:f>
              <c:numCache>
                <c:formatCode>General</c:formatCode>
                <c:ptCount val="29"/>
                <c:pt idx="0">
                  <c:v>6133.52</c:v>
                </c:pt>
                <c:pt idx="1">
                  <c:v>1350.75</c:v>
                </c:pt>
                <c:pt idx="2">
                  <c:v>1409.13</c:v>
                </c:pt>
                <c:pt idx="3">
                  <c:v>13033.69</c:v>
                </c:pt>
                <c:pt idx="4">
                  <c:v>5133.11</c:v>
                </c:pt>
                <c:pt idx="5">
                  <c:v>1493.23</c:v>
                </c:pt>
                <c:pt idx="6">
                  <c:v>4974.4</c:v>
                </c:pt>
                <c:pt idx="7">
                  <c:v>1222.87</c:v>
                </c:pt>
                <c:pt idx="8">
                  <c:v>905.72</c:v>
                </c:pt>
                <c:pt idx="9">
                  <c:v>1466.93</c:v>
                </c:pt>
                <c:pt idx="10">
                  <c:v>3908.45</c:v>
                </c:pt>
                <c:pt idx="11">
                  <c:v>9679.45</c:v>
                </c:pt>
                <c:pt idx="12">
                  <c:v>48119.47</c:v>
                </c:pt>
                <c:pt idx="13">
                  <c:v>1484.06</c:v>
                </c:pt>
                <c:pt idx="14">
                  <c:v>2896.55</c:v>
                </c:pt>
                <c:pt idx="15">
                  <c:v>6514.47</c:v>
                </c:pt>
                <c:pt idx="16">
                  <c:v>3466.18</c:v>
                </c:pt>
                <c:pt idx="17">
                  <c:v>5721.79</c:v>
                </c:pt>
                <c:pt idx="18">
                  <c:v>22252.92</c:v>
                </c:pt>
                <c:pt idx="19">
                  <c:v>16528.85</c:v>
                </c:pt>
                <c:pt idx="20">
                  <c:v>1378.86</c:v>
                </c:pt>
                <c:pt idx="21">
                  <c:v>1695.21</c:v>
                </c:pt>
                <c:pt idx="22">
                  <c:v>1003.98</c:v>
                </c:pt>
                <c:pt idx="23">
                  <c:v>2777.42</c:v>
                </c:pt>
                <c:pt idx="24">
                  <c:v>2744.05</c:v>
                </c:pt>
                <c:pt idx="25">
                  <c:v>20387.0</c:v>
                </c:pt>
                <c:pt idx="26">
                  <c:v>15748.0</c:v>
                </c:pt>
                <c:pt idx="27">
                  <c:v>142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2</a:t>
                    </a:r>
                  </a:p>
                  <a:p>
                    <a:r>
                      <a:t>1070.5</a:t>
                    </a:r>
                  </a:p>
                </c:rich>
              </c:tx>
              <c:dLblPos val="l"/>
              <c:showLegendKey val="0"/>
              <c:showVal val="1"/>
              <c:showCatName val="0"/>
              <c:showSerName val="0"/>
              <c:showPercent val="0"/>
              <c:showBubbleSize val="0"/>
            </c:dLbl>
            <c:dLbl>
              <c:idx val="2"/>
              <c:tx>
                <c:rich>
                  <a:bodyPr/>
                  <a:lstStyle/>
                  <a:p>
                    <a:r>
                      <a:t>IX 91</a:t>
                    </a:r>
                  </a:p>
                  <a:p>
                    <a:r>
                      <a:t>1262.4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IX 100</a:t>
                    </a:r>
                  </a:p>
                  <a:p>
                    <a:r>
                      <a:t>1312.85</a:t>
                    </a:r>
                  </a:p>
                </c:rich>
              </c:tx>
              <c:dLblPos val="l"/>
              <c:showLegendKey val="0"/>
              <c:showVal val="1"/>
              <c:showCatName val="0"/>
              <c:showSerName val="0"/>
              <c:showPercent val="0"/>
              <c:showBubbleSize val="0"/>
            </c:dLbl>
            <c:dLbl>
              <c:idx val="8"/>
              <c:tx>
                <c:rich>
                  <a:bodyPr/>
                  <a:lstStyle/>
                  <a:p>
                    <a:r>
                      <a:t>IX 100</a:t>
                    </a:r>
                  </a:p>
                  <a:p>
                    <a:r>
                      <a:t>1107.75</a:t>
                    </a:r>
                  </a:p>
                </c:rich>
              </c:tx>
              <c:dLblPos val="l"/>
              <c:showLegendKey val="0"/>
              <c:showVal val="1"/>
              <c:showCatName val="0"/>
              <c:showSerName val="0"/>
              <c:showPercent val="0"/>
              <c:showBubbleSize val="0"/>
            </c:dLbl>
            <c:dLbl>
              <c:idx val="9"/>
              <c:tx>
                <c:rich>
                  <a:bodyPr/>
                  <a:lstStyle/>
                  <a:p>
                    <a:r>
                      <a:t>IX 100</a:t>
                    </a:r>
                  </a:p>
                  <a:p>
                    <a:r>
                      <a:t>1419.01</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IX 100</a:t>
                    </a:r>
                  </a:p>
                  <a:p>
                    <a:r>
                      <a:t>1495.56</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IX 85</a:t>
                    </a:r>
                  </a:p>
                  <a:p>
                    <a:r>
                      <a:t>5581.58</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IX 100</a:t>
                    </a:r>
                  </a:p>
                  <a:p>
                    <a:r>
                      <a:t>1025.92</a:t>
                    </a:r>
                  </a:p>
                </c:rich>
              </c:tx>
              <c:dLblPos val="l"/>
              <c:showLegendKey val="0"/>
              <c:showVal val="1"/>
              <c:showCatName val="0"/>
              <c:showSerName val="0"/>
              <c:showPercent val="0"/>
              <c:showBubbleSize val="0"/>
            </c:dLbl>
            <c:dLbl>
              <c:idx val="21"/>
              <c:tx>
                <c:rich>
                  <a:bodyPr/>
                  <a:lstStyle/>
                  <a:p>
                    <a:r>
                      <a:t>IX 100</a:t>
                    </a:r>
                  </a:p>
                  <a:p>
                    <a:r>
                      <a:t>4352.0</a:t>
                    </a:r>
                  </a:p>
                </c:rich>
              </c:tx>
              <c:dLblPos val="l"/>
              <c:showLegendKey val="0"/>
              <c:showVal val="1"/>
              <c:showCatName val="0"/>
              <c:showSerName val="0"/>
              <c:showPercent val="0"/>
              <c:showBubbleSize val="0"/>
            </c:dLbl>
            <c:dLbl>
              <c:idx val="22"/>
              <c:tx>
                <c:rich>
                  <a:bodyPr/>
                  <a:lstStyle/>
                  <a:p>
                    <a:r>
                      <a:t>IX 100</a:t>
                    </a:r>
                  </a:p>
                  <a:p>
                    <a:r>
                      <a:t>615.37</a:t>
                    </a:r>
                  </a:p>
                </c:rich>
              </c:tx>
              <c:dLblPos val="l"/>
              <c:showLegendKey val="0"/>
              <c:showVal val="1"/>
              <c:showCatName val="0"/>
              <c:showSerName val="0"/>
              <c:showPercent val="0"/>
              <c:showBubbleSize val="0"/>
            </c:dLbl>
            <c:dLbl>
              <c:idx val="23"/>
              <c:tx>
                <c:rich>
                  <a:bodyPr/>
                  <a:lstStyle/>
                  <a:p>
                    <a:r>
                      <a:t>IX 100</a:t>
                    </a:r>
                  </a:p>
                  <a:p>
                    <a:r>
                      <a:t>2777.42</a:t>
                    </a:r>
                  </a:p>
                </c:rich>
              </c:tx>
              <c:dLblPos val="l"/>
              <c:showLegendKey val="0"/>
              <c:showVal val="1"/>
              <c:showCatName val="0"/>
              <c:showSerName val="0"/>
              <c:showPercent val="0"/>
              <c:showBubbleSize val="0"/>
            </c:dLbl>
            <c:dLbl>
              <c:idx val="24"/>
              <c:tx>
                <c:rich>
                  <a:bodyPr/>
                  <a:lstStyle/>
                  <a:p>
                    <a:r>
                      <a:t>IX 100</a:t>
                    </a:r>
                  </a:p>
                  <a:p>
                    <a:r>
                      <a:t>2744.05</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dLbl>
              <c:idx val="26"/>
              <c:tx>
                <c:rich>
                  <a:bodyPr/>
                  <a:lstStyle/>
                  <a:p>
                    <a:r>
                      <a:t>None</a:t>
                    </a:r>
                  </a:p>
                  <a:p>
                    <a:r>
                      <a:t>None</a:t>
                    </a:r>
                  </a:p>
                </c:rich>
              </c:tx>
              <c:dLblPos val="l"/>
              <c:showLegendKey val="0"/>
              <c:showVal val="1"/>
              <c:showCatName val="0"/>
              <c:showSerName val="0"/>
              <c:showPercent val="0"/>
              <c:showBubbleSize val="0"/>
            </c:dLbl>
            <c:dLbl>
              <c:idx val="27"/>
              <c:tx>
                <c:rich>
                  <a:bodyPr/>
                  <a:lstStyle/>
                  <a:p>
                    <a:r>
                      <a:t>None</a:t>
                    </a:r>
                  </a:p>
                  <a:p>
                    <a:r>
                      <a:t>None</a:t>
                    </a:r>
                  </a:p>
                </c:rich>
              </c:tx>
              <c:dLblPos val="l"/>
              <c:showLegendKey val="0"/>
              <c:showVal val="1"/>
              <c:showCatName val="0"/>
              <c:showSerName val="0"/>
              <c:showPercent val="0"/>
              <c:showBubbleSize val="0"/>
            </c:dLbl>
            <c:dLbl>
              <c:idx val="28"/>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2</c:v>
                </c:pt>
                <c:pt idx="2">
                  <c:v>IX 91</c:v>
                </c:pt>
                <c:pt idx="3">
                  <c:v/>
                </c:pt>
                <c:pt idx="4">
                  <c:v/>
                </c:pt>
                <c:pt idx="5">
                  <c:v/>
                </c:pt>
                <c:pt idx="6">
                  <c:v/>
                </c:pt>
                <c:pt idx="7">
                  <c:v>IX 100</c:v>
                </c:pt>
                <c:pt idx="8">
                  <c:v>IX 100</c:v>
                </c:pt>
                <c:pt idx="9">
                  <c:v>IX 100</c:v>
                </c:pt>
                <c:pt idx="10">
                  <c:v/>
                </c:pt>
                <c:pt idx="11">
                  <c:v/>
                </c:pt>
                <c:pt idx="12">
                  <c:v/>
                </c:pt>
                <c:pt idx="13">
                  <c:v>IX 100</c:v>
                </c:pt>
                <c:pt idx="14">
                  <c:v/>
                </c:pt>
                <c:pt idx="15">
                  <c:v>IX 85</c:v>
                </c:pt>
                <c:pt idx="16">
                  <c:v/>
                </c:pt>
                <c:pt idx="17">
                  <c:v/>
                </c:pt>
                <c:pt idx="18">
                  <c:v/>
                </c:pt>
                <c:pt idx="19">
                  <c:v/>
                </c:pt>
                <c:pt idx="20">
                  <c:v>IX 100</c:v>
                </c:pt>
                <c:pt idx="21">
                  <c:v>IX 100</c:v>
                </c:pt>
                <c:pt idx="22">
                  <c:v>IX 100</c:v>
                </c:pt>
                <c:pt idx="23">
                  <c:v>IX 100</c:v>
                </c:pt>
                <c:pt idx="24">
                  <c:v>IX 100</c:v>
                </c:pt>
                <c:pt idx="25">
                  <c:v/>
                </c:pt>
                <c:pt idx="26">
                  <c:v/>
                </c:pt>
                <c:pt idx="27">
                  <c:v/>
                </c:pt>
                <c:pt idx="28">
                  <c:v/>
                </c:pt>
              </c:strCache>
            </c:strRef>
          </c:cat>
          <c:val>
            <c:numRef>
              <c:f>Sheet1!$C$2:$C$30</c:f>
              <c:numCache>
                <c:formatCode>General</c:formatCode>
                <c:ptCount val="29"/>
                <c:pt idx="1">
                  <c:v>1070.5</c:v>
                </c:pt>
                <c:pt idx="2">
                  <c:v>1262.41</c:v>
                </c:pt>
                <c:pt idx="7">
                  <c:v>1312.85</c:v>
                </c:pt>
                <c:pt idx="8">
                  <c:v>1107.75</c:v>
                </c:pt>
                <c:pt idx="9">
                  <c:v>1419.01</c:v>
                </c:pt>
                <c:pt idx="13">
                  <c:v>1495.56</c:v>
                </c:pt>
                <c:pt idx="15">
                  <c:v>5581.58</c:v>
                </c:pt>
                <c:pt idx="20">
                  <c:v>1025.92</c:v>
                </c:pt>
                <c:pt idx="21">
                  <c:v>4352.0</c:v>
                </c:pt>
                <c:pt idx="22">
                  <c:v>615.37</c:v>
                </c:pt>
                <c:pt idx="23">
                  <c:v>2777.42</c:v>
                </c:pt>
                <c:pt idx="24">
                  <c:v>2744.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2</c:v>
                </c:pt>
                <c:pt idx="2">
                  <c:v>IX 91</c:v>
                </c:pt>
                <c:pt idx="3">
                  <c:v/>
                </c:pt>
                <c:pt idx="4">
                  <c:v/>
                </c:pt>
                <c:pt idx="5">
                  <c:v/>
                </c:pt>
                <c:pt idx="6">
                  <c:v/>
                </c:pt>
                <c:pt idx="7">
                  <c:v>IX 100</c:v>
                </c:pt>
                <c:pt idx="8">
                  <c:v>IX 100</c:v>
                </c:pt>
                <c:pt idx="9">
                  <c:v>IX 100</c:v>
                </c:pt>
                <c:pt idx="10">
                  <c:v/>
                </c:pt>
                <c:pt idx="11">
                  <c:v/>
                </c:pt>
                <c:pt idx="12">
                  <c:v/>
                </c:pt>
                <c:pt idx="13">
                  <c:v>IX 100</c:v>
                </c:pt>
                <c:pt idx="14">
                  <c:v/>
                </c:pt>
                <c:pt idx="15">
                  <c:v>IX 85</c:v>
                </c:pt>
                <c:pt idx="16">
                  <c:v/>
                </c:pt>
                <c:pt idx="17">
                  <c:v/>
                </c:pt>
                <c:pt idx="18">
                  <c:v/>
                </c:pt>
                <c:pt idx="19">
                  <c:v/>
                </c:pt>
                <c:pt idx="20">
                  <c:v>IX 100</c:v>
                </c:pt>
                <c:pt idx="21">
                  <c:v>IX 100</c:v>
                </c:pt>
                <c:pt idx="22">
                  <c:v>IX 100</c:v>
                </c:pt>
                <c:pt idx="23">
                  <c:v>IX 100</c:v>
                </c:pt>
                <c:pt idx="24">
                  <c:v>IX 100</c:v>
                </c:pt>
                <c:pt idx="25">
                  <c:v/>
                </c:pt>
                <c:pt idx="26">
                  <c:v/>
                </c:pt>
                <c:pt idx="27">
                  <c:v/>
                </c:pt>
                <c:pt idx="28">
                  <c:v/>
                </c:pt>
              </c:strCache>
            </c:strRef>
          </c:cat>
          <c:val>
            <c:numRef>
              <c:f>Sheet1!$D$2:$D$30</c:f>
              <c:numCache>
                <c:formatCode>General</c:formatCode>
                <c:ptCount val="29"/>
                <c:pt idx="0">
                  <c:v>12358.24</c:v>
                </c:pt>
                <c:pt idx="3">
                  <c:v>12979.89</c:v>
                </c:pt>
                <c:pt idx="4">
                  <c:v>2556.52</c:v>
                </c:pt>
                <c:pt idx="6">
                  <c:v>7350.95</c:v>
                </c:pt>
                <c:pt idx="10">
                  <c:v>3161.84</c:v>
                </c:pt>
                <c:pt idx="12">
                  <c:v>48001.13</c:v>
                </c:pt>
                <c:pt idx="16">
                  <c:v>2673.1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2</c:v>
                </c:pt>
                <c:pt idx="2">
                  <c:v>IX 91</c:v>
                </c:pt>
                <c:pt idx="3">
                  <c:v/>
                </c:pt>
                <c:pt idx="4">
                  <c:v/>
                </c:pt>
                <c:pt idx="5">
                  <c:v/>
                </c:pt>
                <c:pt idx="6">
                  <c:v/>
                </c:pt>
                <c:pt idx="7">
                  <c:v>IX 100</c:v>
                </c:pt>
                <c:pt idx="8">
                  <c:v>IX 100</c:v>
                </c:pt>
                <c:pt idx="9">
                  <c:v>IX 100</c:v>
                </c:pt>
                <c:pt idx="10">
                  <c:v/>
                </c:pt>
                <c:pt idx="11">
                  <c:v/>
                </c:pt>
                <c:pt idx="12">
                  <c:v/>
                </c:pt>
                <c:pt idx="13">
                  <c:v>IX 100</c:v>
                </c:pt>
                <c:pt idx="14">
                  <c:v/>
                </c:pt>
                <c:pt idx="15">
                  <c:v>IX 85</c:v>
                </c:pt>
                <c:pt idx="16">
                  <c:v/>
                </c:pt>
                <c:pt idx="17">
                  <c:v/>
                </c:pt>
                <c:pt idx="18">
                  <c:v/>
                </c:pt>
                <c:pt idx="19">
                  <c:v/>
                </c:pt>
                <c:pt idx="20">
                  <c:v>IX 100</c:v>
                </c:pt>
                <c:pt idx="21">
                  <c:v>IX 100</c:v>
                </c:pt>
                <c:pt idx="22">
                  <c:v>IX 100</c:v>
                </c:pt>
                <c:pt idx="23">
                  <c:v>IX 100</c:v>
                </c:pt>
                <c:pt idx="24">
                  <c:v>IX 100</c:v>
                </c:pt>
                <c:pt idx="25">
                  <c:v/>
                </c:pt>
                <c:pt idx="26">
                  <c:v/>
                </c:pt>
                <c:pt idx="27">
                  <c:v/>
                </c:pt>
                <c:pt idx="28">
                  <c:v/>
                </c:pt>
              </c:strCache>
            </c:strRef>
          </c:cat>
          <c:val>
            <c:numRef>
              <c:f>Sheet1!$E$2:$E$30</c:f>
              <c:numCache>
                <c:formatCode>General</c:formatCode>
                <c:ptCount val="29"/>
                <c:pt idx="0">
                  <c:v>11707.12</c:v>
                </c:pt>
                <c:pt idx="3">
                  <c:v>12302.61</c:v>
                </c:pt>
                <c:pt idx="4">
                  <c:v>11483.51</c:v>
                </c:pt>
                <c:pt idx="6">
                  <c:v>7005.15</c:v>
                </c:pt>
                <c:pt idx="10">
                  <c:v>6280.08</c:v>
                </c:pt>
                <c:pt idx="14">
                  <c:v>4860.49</c:v>
                </c:pt>
                <c:pt idx="16">
                  <c:v>4265.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2</c:v>
                </c:pt>
                <c:pt idx="2">
                  <c:v>IX 91</c:v>
                </c:pt>
                <c:pt idx="3">
                  <c:v/>
                </c:pt>
                <c:pt idx="4">
                  <c:v/>
                </c:pt>
                <c:pt idx="5">
                  <c:v/>
                </c:pt>
                <c:pt idx="6">
                  <c:v/>
                </c:pt>
                <c:pt idx="7">
                  <c:v>IX 100</c:v>
                </c:pt>
                <c:pt idx="8">
                  <c:v>IX 100</c:v>
                </c:pt>
                <c:pt idx="9">
                  <c:v>IX 100</c:v>
                </c:pt>
                <c:pt idx="10">
                  <c:v/>
                </c:pt>
                <c:pt idx="11">
                  <c:v/>
                </c:pt>
                <c:pt idx="12">
                  <c:v/>
                </c:pt>
                <c:pt idx="13">
                  <c:v>IX 100</c:v>
                </c:pt>
                <c:pt idx="14">
                  <c:v/>
                </c:pt>
                <c:pt idx="15">
                  <c:v>IX 85</c:v>
                </c:pt>
                <c:pt idx="16">
                  <c:v/>
                </c:pt>
                <c:pt idx="17">
                  <c:v/>
                </c:pt>
                <c:pt idx="18">
                  <c:v/>
                </c:pt>
                <c:pt idx="19">
                  <c:v/>
                </c:pt>
                <c:pt idx="20">
                  <c:v>IX 100</c:v>
                </c:pt>
                <c:pt idx="21">
                  <c:v>IX 100</c:v>
                </c:pt>
                <c:pt idx="22">
                  <c:v>IX 100</c:v>
                </c:pt>
                <c:pt idx="23">
                  <c:v>IX 100</c:v>
                </c:pt>
                <c:pt idx="24">
                  <c:v>IX 100</c:v>
                </c:pt>
                <c:pt idx="25">
                  <c:v/>
                </c:pt>
                <c:pt idx="26">
                  <c:v/>
                </c:pt>
                <c:pt idx="27">
                  <c:v/>
                </c:pt>
                <c:pt idx="28">
                  <c:v/>
                </c:pt>
              </c:strCache>
            </c:strRef>
          </c:cat>
          <c:val>
            <c:numRef>
              <c:f>Sheet1!$F$2:$F$30</c:f>
              <c:numCache>
                <c:formatCode>General</c:formatCode>
                <c:ptCount val="29"/>
                <c:pt idx="1">
                  <c:v>2538.46</c:v>
                </c:pt>
                <c:pt idx="2">
                  <c:v>1389.6</c:v>
                </c:pt>
                <c:pt idx="5">
                  <c:v>1488.21</c:v>
                </c:pt>
                <c:pt idx="13">
                  <c:v>668.57</c:v>
                </c:pt>
                <c:pt idx="15">
                  <c:v>6552.8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8119.969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
                </c:pt>
                <c:pt idx="2">
                  <c:v>IX 282</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
                </c:pt>
                <c:pt idx="28">
                  <c:v/>
                </c:pt>
              </c:strCache>
            </c:strRef>
          </c:cat>
          <c:val>
            <c:numRef>
              <c:f>Sheet1!$B$2:$B$30</c:f>
              <c:numCache>
                <c:formatCode>General</c:formatCode>
                <c:ptCount val="29"/>
                <c:pt idx="0">
                  <c:v>6133.52</c:v>
                </c:pt>
                <c:pt idx="1">
                  <c:v>1350.75</c:v>
                </c:pt>
                <c:pt idx="2">
                  <c:v>1409.13</c:v>
                </c:pt>
                <c:pt idx="3">
                  <c:v>13033.69</c:v>
                </c:pt>
                <c:pt idx="4">
                  <c:v>5133.11</c:v>
                </c:pt>
                <c:pt idx="5">
                  <c:v>1493.23</c:v>
                </c:pt>
                <c:pt idx="6">
                  <c:v>4974.4</c:v>
                </c:pt>
                <c:pt idx="7">
                  <c:v>1222.87</c:v>
                </c:pt>
                <c:pt idx="8">
                  <c:v>905.72</c:v>
                </c:pt>
                <c:pt idx="9">
                  <c:v>1466.93</c:v>
                </c:pt>
                <c:pt idx="10">
                  <c:v>3908.45</c:v>
                </c:pt>
                <c:pt idx="11">
                  <c:v>9679.45</c:v>
                </c:pt>
                <c:pt idx="12">
                  <c:v>48119.47</c:v>
                </c:pt>
                <c:pt idx="13">
                  <c:v>1484.06</c:v>
                </c:pt>
                <c:pt idx="14">
                  <c:v>2896.55</c:v>
                </c:pt>
                <c:pt idx="15">
                  <c:v>6514.47</c:v>
                </c:pt>
                <c:pt idx="16">
                  <c:v>3466.18</c:v>
                </c:pt>
                <c:pt idx="17">
                  <c:v>5721.79</c:v>
                </c:pt>
                <c:pt idx="18">
                  <c:v>22252.92</c:v>
                </c:pt>
                <c:pt idx="19">
                  <c:v>16528.85</c:v>
                </c:pt>
                <c:pt idx="20">
                  <c:v>1378.86</c:v>
                </c:pt>
                <c:pt idx="21">
                  <c:v>1695.21</c:v>
                </c:pt>
                <c:pt idx="22">
                  <c:v>1003.98</c:v>
                </c:pt>
                <c:pt idx="23">
                  <c:v>2777.42</c:v>
                </c:pt>
                <c:pt idx="24">
                  <c:v>2744.05</c:v>
                </c:pt>
                <c:pt idx="25">
                  <c:v>20387.0</c:v>
                </c:pt>
                <c:pt idx="26">
                  <c:v>15748.0</c:v>
                </c:pt>
                <c:pt idx="27">
                  <c:v>142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282</a:t>
                    </a:r>
                  </a:p>
                  <a:p>
                    <a:r>
                      <a:t>3923.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None</a:t>
                    </a:r>
                  </a:p>
                  <a:p>
                    <a:r>
                      <a:t>None</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dLbl>
              <c:idx val="24"/>
              <c:tx>
                <c:rich>
                  <a:bodyPr/>
                  <a:lstStyle/>
                  <a:p>
                    <a:r>
                      <a:t>None</a:t>
                    </a:r>
                  </a:p>
                  <a:p>
                    <a:r>
                      <a:t>None</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dLbl>
              <c:idx val="26"/>
              <c:tx>
                <c:rich>
                  <a:bodyPr/>
                  <a:lstStyle/>
                  <a:p>
                    <a:r>
                      <a:t>None</a:t>
                    </a:r>
                  </a:p>
                  <a:p>
                    <a:r>
                      <a:t>None</a:t>
                    </a:r>
                  </a:p>
                </c:rich>
              </c:tx>
              <c:dLblPos val="l"/>
              <c:showLegendKey val="0"/>
              <c:showVal val="1"/>
              <c:showCatName val="0"/>
              <c:showSerName val="0"/>
              <c:showPercent val="0"/>
              <c:showBubbleSize val="0"/>
            </c:dLbl>
            <c:dLbl>
              <c:idx val="27"/>
              <c:tx>
                <c:rich>
                  <a:bodyPr/>
                  <a:lstStyle/>
                  <a:p>
                    <a:r>
                      <a:t>None</a:t>
                    </a:r>
                  </a:p>
                  <a:p>
                    <a:r>
                      <a:t>None</a:t>
                    </a:r>
                  </a:p>
                </c:rich>
              </c:tx>
              <c:dLblPos val="l"/>
              <c:showLegendKey val="0"/>
              <c:showVal val="1"/>
              <c:showCatName val="0"/>
              <c:showSerName val="0"/>
              <c:showPercent val="0"/>
              <c:showBubbleSize val="0"/>
            </c:dLbl>
            <c:dLbl>
              <c:idx val="28"/>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
                </c:pt>
                <c:pt idx="2">
                  <c:v>IX 282</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
                </c:pt>
                <c:pt idx="28">
                  <c:v/>
                </c:pt>
              </c:strCache>
            </c:strRef>
          </c:cat>
          <c:val>
            <c:numRef>
              <c:f>Sheet1!$C$2:$C$30</c:f>
              <c:numCache>
                <c:formatCode>General</c:formatCode>
                <c:ptCount val="29"/>
                <c:pt idx="2">
                  <c:v>39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
                </c:pt>
                <c:pt idx="2">
                  <c:v>IX 282</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
                </c:pt>
                <c:pt idx="28">
                  <c:v/>
                </c:pt>
              </c:strCache>
            </c:strRef>
          </c:cat>
          <c:val>
            <c:numRef>
              <c:f>Sheet1!$D$2:$D$30</c:f>
              <c:numCache>
                <c:formatCode>General</c:formatCode>
                <c:ptCount val="29"/>
                <c:pt idx="0">
                  <c:v>12358.24</c:v>
                </c:pt>
                <c:pt idx="3">
                  <c:v>12979.89</c:v>
                </c:pt>
                <c:pt idx="4">
                  <c:v>2556.52</c:v>
                </c:pt>
                <c:pt idx="6">
                  <c:v>7350.95</c:v>
                </c:pt>
                <c:pt idx="10">
                  <c:v>3161.84</c:v>
                </c:pt>
                <c:pt idx="12">
                  <c:v>48001.13</c:v>
                </c:pt>
                <c:pt idx="16">
                  <c:v>2673.1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
                </c:pt>
                <c:pt idx="2">
                  <c:v>IX 282</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
                </c:pt>
                <c:pt idx="28">
                  <c:v/>
                </c:pt>
              </c:strCache>
            </c:strRef>
          </c:cat>
          <c:val>
            <c:numRef>
              <c:f>Sheet1!$E$2:$E$30</c:f>
              <c:numCache>
                <c:formatCode>General</c:formatCode>
                <c:ptCount val="29"/>
                <c:pt idx="0">
                  <c:v>11707.12</c:v>
                </c:pt>
                <c:pt idx="3">
                  <c:v>12302.61</c:v>
                </c:pt>
                <c:pt idx="4">
                  <c:v>11483.51</c:v>
                </c:pt>
                <c:pt idx="6">
                  <c:v>7005.15</c:v>
                </c:pt>
                <c:pt idx="10">
                  <c:v>6280.08</c:v>
                </c:pt>
                <c:pt idx="14">
                  <c:v>4860.49</c:v>
                </c:pt>
                <c:pt idx="16">
                  <c:v>4265.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
                </c:pt>
                <c:pt idx="2">
                  <c:v>IX 282</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
                </c:pt>
                <c:pt idx="28">
                  <c:v/>
                </c:pt>
              </c:strCache>
            </c:strRef>
          </c:cat>
          <c:val>
            <c:numRef>
              <c:f>Sheet1!$F$2:$F$30</c:f>
              <c:numCache>
                <c:formatCode>General</c:formatCode>
                <c:ptCount val="29"/>
                <c:pt idx="1">
                  <c:v>2538.46</c:v>
                </c:pt>
                <c:pt idx="2">
                  <c:v>1389.6</c:v>
                </c:pt>
                <c:pt idx="5">
                  <c:v>1488.21</c:v>
                </c:pt>
                <c:pt idx="13">
                  <c:v>668.57</c:v>
                </c:pt>
                <c:pt idx="15">
                  <c:v>6552.8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8119.969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6</c:v>
                </c:pt>
                <c:pt idx="2">
                  <c:v>IX 92</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B$2:$B$28</c:f>
              <c:numCache>
                <c:formatCode>General</c:formatCode>
                <c:ptCount val="27"/>
                <c:pt idx="0">
                  <c:v>6653.67</c:v>
                </c:pt>
                <c:pt idx="1">
                  <c:v>1385.61</c:v>
                </c:pt>
                <c:pt idx="2">
                  <c:v>1422.76</c:v>
                </c:pt>
                <c:pt idx="3">
                  <c:v>13590.28</c:v>
                </c:pt>
                <c:pt idx="4">
                  <c:v>5153.48</c:v>
                </c:pt>
                <c:pt idx="5">
                  <c:v>1485.17</c:v>
                </c:pt>
                <c:pt idx="6">
                  <c:v>5157.16</c:v>
                </c:pt>
                <c:pt idx="7">
                  <c:v>1235.07</c:v>
                </c:pt>
                <c:pt idx="8">
                  <c:v>920.02</c:v>
                </c:pt>
                <c:pt idx="9">
                  <c:v>1497.08</c:v>
                </c:pt>
                <c:pt idx="10">
                  <c:v>4057.79</c:v>
                </c:pt>
                <c:pt idx="11">
                  <c:v>10208.26</c:v>
                </c:pt>
                <c:pt idx="12">
                  <c:v>51602.2</c:v>
                </c:pt>
                <c:pt idx="13">
                  <c:v>1514.8</c:v>
                </c:pt>
                <c:pt idx="14">
                  <c:v>3010.55</c:v>
                </c:pt>
                <c:pt idx="15">
                  <c:v>6693.7</c:v>
                </c:pt>
                <c:pt idx="16">
                  <c:v>3648.2</c:v>
                </c:pt>
                <c:pt idx="17">
                  <c:v>5866.35</c:v>
                </c:pt>
                <c:pt idx="18">
                  <c:v>23894.17</c:v>
                </c:pt>
                <c:pt idx="19">
                  <c:v>23565.54</c:v>
                </c:pt>
                <c:pt idx="20">
                  <c:v>1583.12</c:v>
                </c:pt>
                <c:pt idx="21">
                  <c:v>1716.24</c:v>
                </c:pt>
                <c:pt idx="22">
                  <c:v>1059.93</c:v>
                </c:pt>
                <c:pt idx="23">
                  <c:v>3036.22</c:v>
                </c:pt>
                <c:pt idx="24">
                  <c:v>2948.4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6</a:t>
                    </a:r>
                  </a:p>
                  <a:p>
                    <a:r>
                      <a:t>1168.95</a:t>
                    </a:r>
                  </a:p>
                </c:rich>
              </c:tx>
              <c:dLblPos val="l"/>
              <c:showLegendKey val="0"/>
              <c:showVal val="1"/>
              <c:showCatName val="0"/>
              <c:showSerName val="0"/>
              <c:showPercent val="0"/>
              <c:showBubbleSize val="0"/>
            </c:dLbl>
            <c:dLbl>
              <c:idx val="2"/>
              <c:tx>
                <c:rich>
                  <a:bodyPr/>
                  <a:lstStyle/>
                  <a:p>
                    <a:r>
                      <a:t>IX 92</a:t>
                    </a:r>
                  </a:p>
                  <a:p>
                    <a:r>
                      <a:t>1277.6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IX 100</a:t>
                    </a:r>
                  </a:p>
                  <a:p>
                    <a:r>
                      <a:t>1204.75</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None</a:t>
                    </a:r>
                  </a:p>
                  <a:p>
                    <a:r>
                      <a:t>None</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dLbl>
              <c:idx val="24"/>
              <c:tx>
                <c:rich>
                  <a:bodyPr/>
                  <a:lstStyle/>
                  <a:p>
                    <a:r>
                      <a:t>None</a:t>
                    </a:r>
                  </a:p>
                  <a:p>
                    <a:r>
                      <a:t>None</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dLbl>
              <c:idx val="2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6</c:v>
                </c:pt>
                <c:pt idx="2">
                  <c:v>IX 92</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C$2:$C$28</c:f>
              <c:numCache>
                <c:formatCode>General</c:formatCode>
                <c:ptCount val="27"/>
                <c:pt idx="1">
                  <c:v>1168.95</c:v>
                </c:pt>
                <c:pt idx="2">
                  <c:v>1277.61</c:v>
                </c:pt>
                <c:pt idx="7">
                  <c:v>1204.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6</c:v>
                </c:pt>
                <c:pt idx="2">
                  <c:v>IX 92</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D$2:$D$28</c:f>
              <c:numCache>
                <c:formatCode>General</c:formatCode>
                <c:ptCount val="27"/>
                <c:pt idx="0">
                  <c:v>12511.07</c:v>
                </c:pt>
                <c:pt idx="3">
                  <c:v>13022.58</c:v>
                </c:pt>
                <c:pt idx="4">
                  <c:v>2575.07</c:v>
                </c:pt>
                <c:pt idx="6">
                  <c:v>7530.49</c:v>
                </c:pt>
                <c:pt idx="10">
                  <c:v>3184.07</c:v>
                </c:pt>
                <c:pt idx="12">
                  <c:v>51589.48</c:v>
                </c:pt>
                <c:pt idx="16">
                  <c:v>2750.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6</c:v>
                </c:pt>
                <c:pt idx="2">
                  <c:v>IX 92</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E$2:$E$28</c:f>
              <c:numCache>
                <c:formatCode>General</c:formatCode>
                <c:ptCount val="27"/>
                <c:pt idx="0">
                  <c:v>12254.38</c:v>
                </c:pt>
                <c:pt idx="3">
                  <c:v>12529.91</c:v>
                </c:pt>
                <c:pt idx="4">
                  <c:v>11690.66</c:v>
                </c:pt>
                <c:pt idx="6">
                  <c:v>7809.54</c:v>
                </c:pt>
                <c:pt idx="10">
                  <c:v>6478.95</c:v>
                </c:pt>
                <c:pt idx="14">
                  <c:v>5409.61</c:v>
                </c:pt>
                <c:pt idx="16">
                  <c:v>4690.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6</c:v>
                </c:pt>
                <c:pt idx="2">
                  <c:v>IX 92</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F$2:$F$28</c:f>
              <c:numCache>
                <c:formatCode>General</c:formatCode>
                <c:ptCount val="27"/>
                <c:pt idx="1">
                  <c:v>2521.42</c:v>
                </c:pt>
                <c:pt idx="2">
                  <c:v>1390.75</c:v>
                </c:pt>
                <c:pt idx="5">
                  <c:v>1479.13</c:v>
                </c:pt>
                <c:pt idx="15">
                  <c:v>6718.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602.703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B$2:$B$2</c:f>
              <c:numCache>
                <c:formatCode>General</c:formatCode>
                <c:ptCount val="1"/>
                <c:pt idx="0">
                  <c:v>1622.3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0</a:t>
                    </a:r>
                  </a:p>
                  <a:p>
                    <a:r>
                      <a:t>1242.4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C$2:$C$2</c:f>
              <c:numCache>
                <c:formatCode>General</c:formatCode>
                <c:ptCount val="1"/>
                <c:pt idx="0">
                  <c:v>1242.4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D$2:$D$2</c:f>
              <c:numCache>
                <c:formatCode>General</c:formatCode>
                <c:ptCount val="1"/>
                <c:pt idx="0">
                  <c:v>1765.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E$2:$E$2</c:f>
              <c:numCache>
                <c:formatCode>General</c:formatCode>
                <c:ptCount val="1"/>
                <c:pt idx="0">
                  <c:v>6669.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F$2:$F$2</c:f>
              <c:numCache>
                <c:formatCode>General</c:formatCode>
                <c:ptCount val="1"/>
                <c:pt idx="0">
                  <c:v>6698.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99.3048"/>
          <c:min val="1241.91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3</c:v>
                </c:pt>
                <c:pt idx="2">
                  <c:v>IX 93</c:v>
                </c:pt>
                <c:pt idx="3">
                  <c:v/>
                </c:pt>
                <c:pt idx="4">
                  <c:v/>
                </c:pt>
                <c:pt idx="5">
                  <c:v/>
                </c:pt>
                <c:pt idx="6">
                  <c:v/>
                </c:pt>
                <c:pt idx="7">
                  <c:v>IX 100</c:v>
                </c:pt>
                <c:pt idx="8">
                  <c:v>IX 100</c:v>
                </c:pt>
                <c:pt idx="9">
                  <c:v>IX 100</c:v>
                </c:pt>
                <c:pt idx="10">
                  <c:v/>
                </c:pt>
                <c:pt idx="11">
                  <c:v/>
                </c:pt>
                <c:pt idx="12">
                  <c:v/>
                </c:pt>
                <c:pt idx="13">
                  <c:v>IX 100</c:v>
                </c:pt>
                <c:pt idx="14">
                  <c:v/>
                </c:pt>
                <c:pt idx="15">
                  <c:v>IX 88</c:v>
                </c:pt>
                <c:pt idx="16">
                  <c:v/>
                </c:pt>
                <c:pt idx="17">
                  <c:v/>
                </c:pt>
                <c:pt idx="18">
                  <c:v/>
                </c:pt>
                <c:pt idx="19">
                  <c:v/>
                </c:pt>
                <c:pt idx="20">
                  <c:v>IX 100</c:v>
                </c:pt>
                <c:pt idx="21">
                  <c:v>IX 100</c:v>
                </c:pt>
                <c:pt idx="22">
                  <c:v>IX 100</c:v>
                </c:pt>
                <c:pt idx="23">
                  <c:v>IX 100</c:v>
                </c:pt>
                <c:pt idx="24">
                  <c:v>IX 100</c:v>
                </c:pt>
                <c:pt idx="25">
                  <c:v/>
                </c:pt>
                <c:pt idx="26">
                  <c:v/>
                </c:pt>
              </c:strCache>
            </c:strRef>
          </c:cat>
          <c:val>
            <c:numRef>
              <c:f>Sheet1!$B$2:$B$28</c:f>
              <c:numCache>
                <c:formatCode>General</c:formatCode>
                <c:ptCount val="27"/>
                <c:pt idx="0">
                  <c:v>6653.67</c:v>
                </c:pt>
                <c:pt idx="1">
                  <c:v>1385.61</c:v>
                </c:pt>
                <c:pt idx="2">
                  <c:v>1422.76</c:v>
                </c:pt>
                <c:pt idx="3">
                  <c:v>13590.28</c:v>
                </c:pt>
                <c:pt idx="4">
                  <c:v>5153.48</c:v>
                </c:pt>
                <c:pt idx="5">
                  <c:v>1485.17</c:v>
                </c:pt>
                <c:pt idx="6">
                  <c:v>5157.16</c:v>
                </c:pt>
                <c:pt idx="7">
                  <c:v>1235.07</c:v>
                </c:pt>
                <c:pt idx="8">
                  <c:v>920.02</c:v>
                </c:pt>
                <c:pt idx="9">
                  <c:v>1497.08</c:v>
                </c:pt>
                <c:pt idx="10">
                  <c:v>4057.79</c:v>
                </c:pt>
                <c:pt idx="11">
                  <c:v>10208.26</c:v>
                </c:pt>
                <c:pt idx="12">
                  <c:v>51602.2</c:v>
                </c:pt>
                <c:pt idx="13">
                  <c:v>1514.8</c:v>
                </c:pt>
                <c:pt idx="14">
                  <c:v>3010.55</c:v>
                </c:pt>
                <c:pt idx="15">
                  <c:v>6693.7</c:v>
                </c:pt>
                <c:pt idx="16">
                  <c:v>3648.2</c:v>
                </c:pt>
                <c:pt idx="17">
                  <c:v>5866.35</c:v>
                </c:pt>
                <c:pt idx="18">
                  <c:v>23894.17</c:v>
                </c:pt>
                <c:pt idx="19">
                  <c:v>23565.54</c:v>
                </c:pt>
                <c:pt idx="20">
                  <c:v>1583.12</c:v>
                </c:pt>
                <c:pt idx="21">
                  <c:v>1716.24</c:v>
                </c:pt>
                <c:pt idx="22">
                  <c:v>1059.93</c:v>
                </c:pt>
                <c:pt idx="23">
                  <c:v>3036.22</c:v>
                </c:pt>
                <c:pt idx="24">
                  <c:v>2948.4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3</a:t>
                    </a:r>
                  </a:p>
                  <a:p>
                    <a:r>
                      <a:t>1087.75</a:t>
                    </a:r>
                  </a:p>
                </c:rich>
              </c:tx>
              <c:dLblPos val="l"/>
              <c:showLegendKey val="0"/>
              <c:showVal val="1"/>
              <c:showCatName val="0"/>
              <c:showSerName val="0"/>
              <c:showPercent val="0"/>
              <c:showBubbleSize val="0"/>
            </c:dLbl>
            <c:dLbl>
              <c:idx val="2"/>
              <c:tx>
                <c:rich>
                  <a:bodyPr/>
                  <a:lstStyle/>
                  <a:p>
                    <a:r>
                      <a:t>IX 93</a:t>
                    </a:r>
                  </a:p>
                  <a:p>
                    <a:r>
                      <a:t>1286.9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IX 100</a:t>
                    </a:r>
                  </a:p>
                  <a:p>
                    <a:r>
                      <a:t>1318.47</a:t>
                    </a:r>
                  </a:p>
                </c:rich>
              </c:tx>
              <c:dLblPos val="l"/>
              <c:showLegendKey val="0"/>
              <c:showVal val="1"/>
              <c:showCatName val="0"/>
              <c:showSerName val="0"/>
              <c:showPercent val="0"/>
              <c:showBubbleSize val="0"/>
            </c:dLbl>
            <c:dLbl>
              <c:idx val="8"/>
              <c:tx>
                <c:rich>
                  <a:bodyPr/>
                  <a:lstStyle/>
                  <a:p>
                    <a:r>
                      <a:t>IX 100</a:t>
                    </a:r>
                  </a:p>
                  <a:p>
                    <a:r>
                      <a:t>1122.95</a:t>
                    </a:r>
                  </a:p>
                </c:rich>
              </c:tx>
              <c:dLblPos val="l"/>
              <c:showLegendKey val="0"/>
              <c:showVal val="1"/>
              <c:showCatName val="0"/>
              <c:showSerName val="0"/>
              <c:showPercent val="0"/>
              <c:showBubbleSize val="0"/>
            </c:dLbl>
            <c:dLbl>
              <c:idx val="9"/>
              <c:tx>
                <c:rich>
                  <a:bodyPr/>
                  <a:lstStyle/>
                  <a:p>
                    <a:r>
                      <a:t>IX 100</a:t>
                    </a:r>
                  </a:p>
                  <a:p>
                    <a:r>
                      <a:t>1436.52</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IX 100</a:t>
                    </a:r>
                  </a:p>
                  <a:p>
                    <a:r>
                      <a:t>1506.93</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IX 88</a:t>
                    </a:r>
                  </a:p>
                  <a:p>
                    <a:r>
                      <a:t>5904.05</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IX 100</a:t>
                    </a:r>
                  </a:p>
                  <a:p>
                    <a:r>
                      <a:t>1109.26</a:t>
                    </a:r>
                  </a:p>
                </c:rich>
              </c:tx>
              <c:dLblPos val="l"/>
              <c:showLegendKey val="0"/>
              <c:showVal val="1"/>
              <c:showCatName val="0"/>
              <c:showSerName val="0"/>
              <c:showPercent val="0"/>
              <c:showBubbleSize val="0"/>
            </c:dLbl>
            <c:dLbl>
              <c:idx val="21"/>
              <c:tx>
                <c:rich>
                  <a:bodyPr/>
                  <a:lstStyle/>
                  <a:p>
                    <a:r>
                      <a:t>IX 100</a:t>
                    </a:r>
                  </a:p>
                  <a:p>
                    <a:r>
                      <a:t>4352.0</a:t>
                    </a:r>
                  </a:p>
                </c:rich>
              </c:tx>
              <c:dLblPos val="l"/>
              <c:showLegendKey val="0"/>
              <c:showVal val="1"/>
              <c:showCatName val="0"/>
              <c:showSerName val="0"/>
              <c:showPercent val="0"/>
              <c:showBubbleSize val="0"/>
            </c:dLbl>
            <c:dLbl>
              <c:idx val="22"/>
              <c:tx>
                <c:rich>
                  <a:bodyPr/>
                  <a:lstStyle/>
                  <a:p>
                    <a:r>
                      <a:t>IX 100</a:t>
                    </a:r>
                  </a:p>
                  <a:p>
                    <a:r>
                      <a:t>638.09</a:t>
                    </a:r>
                  </a:p>
                </c:rich>
              </c:tx>
              <c:dLblPos val="l"/>
              <c:showLegendKey val="0"/>
              <c:showVal val="1"/>
              <c:showCatName val="0"/>
              <c:showSerName val="0"/>
              <c:showPercent val="0"/>
              <c:showBubbleSize val="0"/>
            </c:dLbl>
            <c:dLbl>
              <c:idx val="23"/>
              <c:tx>
                <c:rich>
                  <a:bodyPr/>
                  <a:lstStyle/>
                  <a:p>
                    <a:r>
                      <a:t>IX 100</a:t>
                    </a:r>
                  </a:p>
                  <a:p>
                    <a:r>
                      <a:t>3036.22</a:t>
                    </a:r>
                  </a:p>
                </c:rich>
              </c:tx>
              <c:dLblPos val="l"/>
              <c:showLegendKey val="0"/>
              <c:showVal val="1"/>
              <c:showCatName val="0"/>
              <c:showSerName val="0"/>
              <c:showPercent val="0"/>
              <c:showBubbleSize val="0"/>
            </c:dLbl>
            <c:dLbl>
              <c:idx val="24"/>
              <c:tx>
                <c:rich>
                  <a:bodyPr/>
                  <a:lstStyle/>
                  <a:p>
                    <a:r>
                      <a:t>IX 100</a:t>
                    </a:r>
                  </a:p>
                  <a:p>
                    <a:r>
                      <a:t>2948.47</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dLbl>
              <c:idx val="2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3</c:v>
                </c:pt>
                <c:pt idx="2">
                  <c:v>IX 93</c:v>
                </c:pt>
                <c:pt idx="3">
                  <c:v/>
                </c:pt>
                <c:pt idx="4">
                  <c:v/>
                </c:pt>
                <c:pt idx="5">
                  <c:v/>
                </c:pt>
                <c:pt idx="6">
                  <c:v/>
                </c:pt>
                <c:pt idx="7">
                  <c:v>IX 100</c:v>
                </c:pt>
                <c:pt idx="8">
                  <c:v>IX 100</c:v>
                </c:pt>
                <c:pt idx="9">
                  <c:v>IX 100</c:v>
                </c:pt>
                <c:pt idx="10">
                  <c:v/>
                </c:pt>
                <c:pt idx="11">
                  <c:v/>
                </c:pt>
                <c:pt idx="12">
                  <c:v/>
                </c:pt>
                <c:pt idx="13">
                  <c:v>IX 100</c:v>
                </c:pt>
                <c:pt idx="14">
                  <c:v/>
                </c:pt>
                <c:pt idx="15">
                  <c:v>IX 88</c:v>
                </c:pt>
                <c:pt idx="16">
                  <c:v/>
                </c:pt>
                <c:pt idx="17">
                  <c:v/>
                </c:pt>
                <c:pt idx="18">
                  <c:v/>
                </c:pt>
                <c:pt idx="19">
                  <c:v/>
                </c:pt>
                <c:pt idx="20">
                  <c:v>IX 100</c:v>
                </c:pt>
                <c:pt idx="21">
                  <c:v>IX 100</c:v>
                </c:pt>
                <c:pt idx="22">
                  <c:v>IX 100</c:v>
                </c:pt>
                <c:pt idx="23">
                  <c:v>IX 100</c:v>
                </c:pt>
                <c:pt idx="24">
                  <c:v>IX 100</c:v>
                </c:pt>
                <c:pt idx="25">
                  <c:v/>
                </c:pt>
                <c:pt idx="26">
                  <c:v/>
                </c:pt>
              </c:strCache>
            </c:strRef>
          </c:cat>
          <c:val>
            <c:numRef>
              <c:f>Sheet1!$C$2:$C$28</c:f>
              <c:numCache>
                <c:formatCode>General</c:formatCode>
                <c:ptCount val="27"/>
                <c:pt idx="1">
                  <c:v>1087.75</c:v>
                </c:pt>
                <c:pt idx="2">
                  <c:v>1286.92</c:v>
                </c:pt>
                <c:pt idx="7">
                  <c:v>1318.47</c:v>
                </c:pt>
                <c:pt idx="8">
                  <c:v>1122.95</c:v>
                </c:pt>
                <c:pt idx="9">
                  <c:v>1436.52</c:v>
                </c:pt>
                <c:pt idx="13">
                  <c:v>1506.93</c:v>
                </c:pt>
                <c:pt idx="15">
                  <c:v>5904.05</c:v>
                </c:pt>
                <c:pt idx="20">
                  <c:v>1109.26</c:v>
                </c:pt>
                <c:pt idx="21">
                  <c:v>4352.0</c:v>
                </c:pt>
                <c:pt idx="22">
                  <c:v>638.09</c:v>
                </c:pt>
                <c:pt idx="23">
                  <c:v>3036.22</c:v>
                </c:pt>
                <c:pt idx="24">
                  <c:v>2948.4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3</c:v>
                </c:pt>
                <c:pt idx="2">
                  <c:v>IX 93</c:v>
                </c:pt>
                <c:pt idx="3">
                  <c:v/>
                </c:pt>
                <c:pt idx="4">
                  <c:v/>
                </c:pt>
                <c:pt idx="5">
                  <c:v/>
                </c:pt>
                <c:pt idx="6">
                  <c:v/>
                </c:pt>
                <c:pt idx="7">
                  <c:v>IX 100</c:v>
                </c:pt>
                <c:pt idx="8">
                  <c:v>IX 100</c:v>
                </c:pt>
                <c:pt idx="9">
                  <c:v>IX 100</c:v>
                </c:pt>
                <c:pt idx="10">
                  <c:v/>
                </c:pt>
                <c:pt idx="11">
                  <c:v/>
                </c:pt>
                <c:pt idx="12">
                  <c:v/>
                </c:pt>
                <c:pt idx="13">
                  <c:v>IX 100</c:v>
                </c:pt>
                <c:pt idx="14">
                  <c:v/>
                </c:pt>
                <c:pt idx="15">
                  <c:v>IX 88</c:v>
                </c:pt>
                <c:pt idx="16">
                  <c:v/>
                </c:pt>
                <c:pt idx="17">
                  <c:v/>
                </c:pt>
                <c:pt idx="18">
                  <c:v/>
                </c:pt>
                <c:pt idx="19">
                  <c:v/>
                </c:pt>
                <c:pt idx="20">
                  <c:v>IX 100</c:v>
                </c:pt>
                <c:pt idx="21">
                  <c:v>IX 100</c:v>
                </c:pt>
                <c:pt idx="22">
                  <c:v>IX 100</c:v>
                </c:pt>
                <c:pt idx="23">
                  <c:v>IX 100</c:v>
                </c:pt>
                <c:pt idx="24">
                  <c:v>IX 100</c:v>
                </c:pt>
                <c:pt idx="25">
                  <c:v/>
                </c:pt>
                <c:pt idx="26">
                  <c:v/>
                </c:pt>
              </c:strCache>
            </c:strRef>
          </c:cat>
          <c:val>
            <c:numRef>
              <c:f>Sheet1!$D$2:$D$28</c:f>
              <c:numCache>
                <c:formatCode>General</c:formatCode>
                <c:ptCount val="27"/>
                <c:pt idx="0">
                  <c:v>12511.07</c:v>
                </c:pt>
                <c:pt idx="3">
                  <c:v>13022.58</c:v>
                </c:pt>
                <c:pt idx="4">
                  <c:v>2575.07</c:v>
                </c:pt>
                <c:pt idx="6">
                  <c:v>7530.49</c:v>
                </c:pt>
                <c:pt idx="10">
                  <c:v>3184.07</c:v>
                </c:pt>
                <c:pt idx="12">
                  <c:v>51589.48</c:v>
                </c:pt>
                <c:pt idx="16">
                  <c:v>2750.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3</c:v>
                </c:pt>
                <c:pt idx="2">
                  <c:v>IX 93</c:v>
                </c:pt>
                <c:pt idx="3">
                  <c:v/>
                </c:pt>
                <c:pt idx="4">
                  <c:v/>
                </c:pt>
                <c:pt idx="5">
                  <c:v/>
                </c:pt>
                <c:pt idx="6">
                  <c:v/>
                </c:pt>
                <c:pt idx="7">
                  <c:v>IX 100</c:v>
                </c:pt>
                <c:pt idx="8">
                  <c:v>IX 100</c:v>
                </c:pt>
                <c:pt idx="9">
                  <c:v>IX 100</c:v>
                </c:pt>
                <c:pt idx="10">
                  <c:v/>
                </c:pt>
                <c:pt idx="11">
                  <c:v/>
                </c:pt>
                <c:pt idx="12">
                  <c:v/>
                </c:pt>
                <c:pt idx="13">
                  <c:v>IX 100</c:v>
                </c:pt>
                <c:pt idx="14">
                  <c:v/>
                </c:pt>
                <c:pt idx="15">
                  <c:v>IX 88</c:v>
                </c:pt>
                <c:pt idx="16">
                  <c:v/>
                </c:pt>
                <c:pt idx="17">
                  <c:v/>
                </c:pt>
                <c:pt idx="18">
                  <c:v/>
                </c:pt>
                <c:pt idx="19">
                  <c:v/>
                </c:pt>
                <c:pt idx="20">
                  <c:v>IX 100</c:v>
                </c:pt>
                <c:pt idx="21">
                  <c:v>IX 100</c:v>
                </c:pt>
                <c:pt idx="22">
                  <c:v>IX 100</c:v>
                </c:pt>
                <c:pt idx="23">
                  <c:v>IX 100</c:v>
                </c:pt>
                <c:pt idx="24">
                  <c:v>IX 100</c:v>
                </c:pt>
                <c:pt idx="25">
                  <c:v/>
                </c:pt>
                <c:pt idx="26">
                  <c:v/>
                </c:pt>
              </c:strCache>
            </c:strRef>
          </c:cat>
          <c:val>
            <c:numRef>
              <c:f>Sheet1!$E$2:$E$28</c:f>
              <c:numCache>
                <c:formatCode>General</c:formatCode>
                <c:ptCount val="27"/>
                <c:pt idx="0">
                  <c:v>12254.38</c:v>
                </c:pt>
                <c:pt idx="3">
                  <c:v>12529.91</c:v>
                </c:pt>
                <c:pt idx="4">
                  <c:v>11690.66</c:v>
                </c:pt>
                <c:pt idx="6">
                  <c:v>7809.54</c:v>
                </c:pt>
                <c:pt idx="10">
                  <c:v>6478.95</c:v>
                </c:pt>
                <c:pt idx="14">
                  <c:v>5409.61</c:v>
                </c:pt>
                <c:pt idx="16">
                  <c:v>4690.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3</c:v>
                </c:pt>
                <c:pt idx="2">
                  <c:v>IX 93</c:v>
                </c:pt>
                <c:pt idx="3">
                  <c:v/>
                </c:pt>
                <c:pt idx="4">
                  <c:v/>
                </c:pt>
                <c:pt idx="5">
                  <c:v/>
                </c:pt>
                <c:pt idx="6">
                  <c:v/>
                </c:pt>
                <c:pt idx="7">
                  <c:v>IX 100</c:v>
                </c:pt>
                <c:pt idx="8">
                  <c:v>IX 100</c:v>
                </c:pt>
                <c:pt idx="9">
                  <c:v>IX 100</c:v>
                </c:pt>
                <c:pt idx="10">
                  <c:v/>
                </c:pt>
                <c:pt idx="11">
                  <c:v/>
                </c:pt>
                <c:pt idx="12">
                  <c:v/>
                </c:pt>
                <c:pt idx="13">
                  <c:v>IX 100</c:v>
                </c:pt>
                <c:pt idx="14">
                  <c:v/>
                </c:pt>
                <c:pt idx="15">
                  <c:v>IX 88</c:v>
                </c:pt>
                <c:pt idx="16">
                  <c:v/>
                </c:pt>
                <c:pt idx="17">
                  <c:v/>
                </c:pt>
                <c:pt idx="18">
                  <c:v/>
                </c:pt>
                <c:pt idx="19">
                  <c:v/>
                </c:pt>
                <c:pt idx="20">
                  <c:v>IX 100</c:v>
                </c:pt>
                <c:pt idx="21">
                  <c:v>IX 100</c:v>
                </c:pt>
                <c:pt idx="22">
                  <c:v>IX 100</c:v>
                </c:pt>
                <c:pt idx="23">
                  <c:v>IX 100</c:v>
                </c:pt>
                <c:pt idx="24">
                  <c:v>IX 100</c:v>
                </c:pt>
                <c:pt idx="25">
                  <c:v/>
                </c:pt>
                <c:pt idx="26">
                  <c:v/>
                </c:pt>
              </c:strCache>
            </c:strRef>
          </c:cat>
          <c:val>
            <c:numRef>
              <c:f>Sheet1!$F$2:$F$28</c:f>
              <c:numCache>
                <c:formatCode>General</c:formatCode>
                <c:ptCount val="27"/>
                <c:pt idx="1">
                  <c:v>2521.42</c:v>
                </c:pt>
                <c:pt idx="2">
                  <c:v>1390.75</c:v>
                </c:pt>
                <c:pt idx="5">
                  <c:v>1479.13</c:v>
                </c:pt>
                <c:pt idx="15">
                  <c:v>6718.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602.703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
                </c:pt>
                <c:pt idx="2">
                  <c:v>IX 297</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B$2:$B$28</c:f>
              <c:numCache>
                <c:formatCode>General</c:formatCode>
                <c:ptCount val="27"/>
                <c:pt idx="0">
                  <c:v>6653.67</c:v>
                </c:pt>
                <c:pt idx="1">
                  <c:v>1385.61</c:v>
                </c:pt>
                <c:pt idx="2">
                  <c:v>1422.76</c:v>
                </c:pt>
                <c:pt idx="3">
                  <c:v>13590.28</c:v>
                </c:pt>
                <c:pt idx="4">
                  <c:v>5153.48</c:v>
                </c:pt>
                <c:pt idx="5">
                  <c:v>1485.17</c:v>
                </c:pt>
                <c:pt idx="6">
                  <c:v>5157.16</c:v>
                </c:pt>
                <c:pt idx="7">
                  <c:v>1235.07</c:v>
                </c:pt>
                <c:pt idx="8">
                  <c:v>920.02</c:v>
                </c:pt>
                <c:pt idx="9">
                  <c:v>1497.08</c:v>
                </c:pt>
                <c:pt idx="10">
                  <c:v>4057.79</c:v>
                </c:pt>
                <c:pt idx="11">
                  <c:v>10208.26</c:v>
                </c:pt>
                <c:pt idx="12">
                  <c:v>51602.2</c:v>
                </c:pt>
                <c:pt idx="13">
                  <c:v>1514.8</c:v>
                </c:pt>
                <c:pt idx="14">
                  <c:v>3010.55</c:v>
                </c:pt>
                <c:pt idx="15">
                  <c:v>6693.7</c:v>
                </c:pt>
                <c:pt idx="16">
                  <c:v>3648.2</c:v>
                </c:pt>
                <c:pt idx="17">
                  <c:v>5866.35</c:v>
                </c:pt>
                <c:pt idx="18">
                  <c:v>23894.17</c:v>
                </c:pt>
                <c:pt idx="19">
                  <c:v>23565.54</c:v>
                </c:pt>
                <c:pt idx="20">
                  <c:v>1583.12</c:v>
                </c:pt>
                <c:pt idx="21">
                  <c:v>1716.24</c:v>
                </c:pt>
                <c:pt idx="22">
                  <c:v>1059.93</c:v>
                </c:pt>
                <c:pt idx="23">
                  <c:v>3036.22</c:v>
                </c:pt>
                <c:pt idx="24">
                  <c:v>2948.4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297</a:t>
                    </a:r>
                  </a:p>
                  <a:p>
                    <a:r>
                      <a:t>4126.1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None</a:t>
                    </a:r>
                  </a:p>
                  <a:p>
                    <a:r>
                      <a:t>None</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dLbl>
              <c:idx val="24"/>
              <c:tx>
                <c:rich>
                  <a:bodyPr/>
                  <a:lstStyle/>
                  <a:p>
                    <a:r>
                      <a:t>None</a:t>
                    </a:r>
                  </a:p>
                  <a:p>
                    <a:r>
                      <a:t>None</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dLbl>
              <c:idx val="26"/>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
                </c:pt>
                <c:pt idx="2">
                  <c:v>IX 297</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C$2:$C$28</c:f>
              <c:numCache>
                <c:formatCode>General</c:formatCode>
                <c:ptCount val="27"/>
                <c:pt idx="2">
                  <c:v>4126.1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
                </c:pt>
                <c:pt idx="2">
                  <c:v>IX 297</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D$2:$D$28</c:f>
              <c:numCache>
                <c:formatCode>General</c:formatCode>
                <c:ptCount val="27"/>
                <c:pt idx="0">
                  <c:v>12511.07</c:v>
                </c:pt>
                <c:pt idx="3">
                  <c:v>13022.58</c:v>
                </c:pt>
                <c:pt idx="4">
                  <c:v>2575.07</c:v>
                </c:pt>
                <c:pt idx="6">
                  <c:v>7530.49</c:v>
                </c:pt>
                <c:pt idx="10">
                  <c:v>3184.07</c:v>
                </c:pt>
                <c:pt idx="12">
                  <c:v>51589.48</c:v>
                </c:pt>
                <c:pt idx="16">
                  <c:v>2750.1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
                </c:pt>
                <c:pt idx="2">
                  <c:v>IX 297</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E$2:$E$28</c:f>
              <c:numCache>
                <c:formatCode>General</c:formatCode>
                <c:ptCount val="27"/>
                <c:pt idx="0">
                  <c:v>12254.38</c:v>
                </c:pt>
                <c:pt idx="3">
                  <c:v>12529.91</c:v>
                </c:pt>
                <c:pt idx="4">
                  <c:v>11690.66</c:v>
                </c:pt>
                <c:pt idx="6">
                  <c:v>7809.54</c:v>
                </c:pt>
                <c:pt idx="10">
                  <c:v>6478.95</c:v>
                </c:pt>
                <c:pt idx="14">
                  <c:v>5409.61</c:v>
                </c:pt>
                <c:pt idx="16">
                  <c:v>4690.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
                </c:pt>
                <c:pt idx="2">
                  <c:v>IX 297</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F$2:$F$28</c:f>
              <c:numCache>
                <c:formatCode>General</c:formatCode>
                <c:ptCount val="27"/>
                <c:pt idx="1">
                  <c:v>2521.42</c:v>
                </c:pt>
                <c:pt idx="2">
                  <c:v>1390.75</c:v>
                </c:pt>
                <c:pt idx="5">
                  <c:v>1479.13</c:v>
                </c:pt>
                <c:pt idx="15">
                  <c:v>6718.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602.703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6</c:v>
                </c:pt>
                <c:pt idx="4">
                  <c:v>IX 35</c:v>
                </c:pt>
                <c:pt idx="5">
                  <c:v/>
                </c:pt>
                <c:pt idx="6">
                  <c:v/>
                </c:pt>
                <c:pt idx="7">
                  <c:v/>
                </c:pt>
                <c:pt idx="8">
                  <c:v>IX 100</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B$2:$B$25</c:f>
              <c:numCache>
                <c:formatCode>General</c:formatCode>
                <c:ptCount val="24"/>
                <c:pt idx="0">
                  <c:v>8438.15</c:v>
                </c:pt>
                <c:pt idx="1">
                  <c:v>13871.35</c:v>
                </c:pt>
                <c:pt idx="2">
                  <c:v>5330.27</c:v>
                </c:pt>
                <c:pt idx="3">
                  <c:v>1690.01</c:v>
                </c:pt>
                <c:pt idx="4">
                  <c:v>1689.65</c:v>
                </c:pt>
                <c:pt idx="5">
                  <c:v>5083.56</c:v>
                </c:pt>
                <c:pt idx="6">
                  <c:v>4481.55</c:v>
                </c:pt>
                <c:pt idx="7">
                  <c:v>10908.83</c:v>
                </c:pt>
                <c:pt idx="8">
                  <c:v>1336.88</c:v>
                </c:pt>
                <c:pt idx="9">
                  <c:v>1854.94</c:v>
                </c:pt>
                <c:pt idx="10">
                  <c:v>52287.3</c:v>
                </c:pt>
                <c:pt idx="11">
                  <c:v>3060.89</c:v>
                </c:pt>
                <c:pt idx="12">
                  <c:v>1134.37</c:v>
                </c:pt>
                <c:pt idx="13">
                  <c:v>2001.56</c:v>
                </c:pt>
                <c:pt idx="14">
                  <c:v>23299.97</c:v>
                </c:pt>
                <c:pt idx="15">
                  <c:v>1462.55</c:v>
                </c:pt>
                <c:pt idx="16">
                  <c:v>3719.3</c:v>
                </c:pt>
                <c:pt idx="17">
                  <c:v>38978.5</c:v>
                </c:pt>
                <c:pt idx="18">
                  <c:v>8229.01</c:v>
                </c:pt>
                <c:pt idx="19">
                  <c:v>7578.0</c:v>
                </c:pt>
                <c:pt idx="20">
                  <c:v>2148.37</c:v>
                </c:pt>
                <c:pt idx="21">
                  <c:v>1580.85</c:v>
                </c:pt>
                <c:pt idx="22">
                  <c:v>5965.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86</a:t>
                    </a:r>
                  </a:p>
                  <a:p>
                    <a:r>
                      <a:t>1337.33</a:t>
                    </a:r>
                  </a:p>
                </c:rich>
              </c:tx>
              <c:dLblPos val="l"/>
              <c:showLegendKey val="0"/>
              <c:showVal val="1"/>
              <c:showCatName val="0"/>
              <c:showSerName val="0"/>
              <c:showPercent val="0"/>
              <c:showBubbleSize val="0"/>
            </c:dLbl>
            <c:dLbl>
              <c:idx val="4"/>
              <c:tx>
                <c:rich>
                  <a:bodyPr/>
                  <a:lstStyle/>
                  <a:p>
                    <a:r>
                      <a:t>IX 35</a:t>
                    </a:r>
                  </a:p>
                  <a:p>
                    <a:r>
                      <a:t>1198.27</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IX 100</a:t>
                    </a:r>
                  </a:p>
                  <a:p>
                    <a:r>
                      <a:t>1295.51</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None</a:t>
                    </a:r>
                  </a:p>
                  <a:p>
                    <a:r>
                      <a:t>None</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6</c:v>
                </c:pt>
                <c:pt idx="4">
                  <c:v>IX 35</c:v>
                </c:pt>
                <c:pt idx="5">
                  <c:v/>
                </c:pt>
                <c:pt idx="6">
                  <c:v/>
                </c:pt>
                <c:pt idx="7">
                  <c:v/>
                </c:pt>
                <c:pt idx="8">
                  <c:v>IX 100</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C$2:$C$25</c:f>
              <c:numCache>
                <c:formatCode>General</c:formatCode>
                <c:ptCount val="24"/>
                <c:pt idx="3">
                  <c:v>1337.33</c:v>
                </c:pt>
                <c:pt idx="4">
                  <c:v>1198.27</c:v>
                </c:pt>
                <c:pt idx="8">
                  <c:v>1295.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6</c:v>
                </c:pt>
                <c:pt idx="4">
                  <c:v>IX 35</c:v>
                </c:pt>
                <c:pt idx="5">
                  <c:v/>
                </c:pt>
                <c:pt idx="6">
                  <c:v/>
                </c:pt>
                <c:pt idx="7">
                  <c:v/>
                </c:pt>
                <c:pt idx="8">
                  <c:v>IX 100</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D$2:$D$25</c:f>
              <c:numCache>
                <c:formatCode>General</c:formatCode>
                <c:ptCount val="24"/>
                <c:pt idx="0">
                  <c:v>12652.21</c:v>
                </c:pt>
                <c:pt idx="1">
                  <c:v>13336.99</c:v>
                </c:pt>
                <c:pt idx="2">
                  <c:v>2602.64</c:v>
                </c:pt>
                <c:pt idx="5">
                  <c:v>7712.97</c:v>
                </c:pt>
                <c:pt idx="6">
                  <c:v>3248.4</c:v>
                </c:pt>
                <c:pt idx="10">
                  <c:v>52272.41</c:v>
                </c:pt>
                <c:pt idx="16">
                  <c:v>278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6</c:v>
                </c:pt>
                <c:pt idx="4">
                  <c:v>IX 35</c:v>
                </c:pt>
                <c:pt idx="5">
                  <c:v/>
                </c:pt>
                <c:pt idx="6">
                  <c:v/>
                </c:pt>
                <c:pt idx="7">
                  <c:v/>
                </c:pt>
                <c:pt idx="8">
                  <c:v>IX 100</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E$2:$E$25</c:f>
              <c:numCache>
                <c:formatCode>General</c:formatCode>
                <c:ptCount val="24"/>
                <c:pt idx="0">
                  <c:v>12589.97</c:v>
                </c:pt>
                <c:pt idx="1">
                  <c:v>12718.69</c:v>
                </c:pt>
                <c:pt idx="2">
                  <c:v>11741.4</c:v>
                </c:pt>
                <c:pt idx="5">
                  <c:v>8378.02</c:v>
                </c:pt>
                <c:pt idx="6">
                  <c:v>6688.99</c:v>
                </c:pt>
                <c:pt idx="11">
                  <c:v>5622.41</c:v>
                </c:pt>
                <c:pt idx="16">
                  <c:v>4909.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6</c:v>
                </c:pt>
                <c:pt idx="4">
                  <c:v>IX 35</c:v>
                </c:pt>
                <c:pt idx="5">
                  <c:v/>
                </c:pt>
                <c:pt idx="6">
                  <c:v/>
                </c:pt>
                <c:pt idx="7">
                  <c:v/>
                </c:pt>
                <c:pt idx="8">
                  <c:v>IX 100</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F$2:$F$25</c:f>
              <c:numCache>
                <c:formatCode>General</c:formatCode>
                <c:ptCount val="24"/>
                <c:pt idx="3">
                  <c:v>1551.32</c:v>
                </c:pt>
                <c:pt idx="4">
                  <c:v>3440.36</c:v>
                </c:pt>
                <c:pt idx="9">
                  <c:v>1825.72</c:v>
                </c:pt>
                <c:pt idx="18">
                  <c:v>8170.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87.796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9</c:v>
                </c:pt>
                <c:pt idx="4">
                  <c:v>IX 39</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B$2:$B$25</c:f>
              <c:numCache>
                <c:formatCode>General</c:formatCode>
                <c:ptCount val="24"/>
                <c:pt idx="0">
                  <c:v>8438.15</c:v>
                </c:pt>
                <c:pt idx="1">
                  <c:v>13871.35</c:v>
                </c:pt>
                <c:pt idx="2">
                  <c:v>5330.27</c:v>
                </c:pt>
                <c:pt idx="3">
                  <c:v>1690.01</c:v>
                </c:pt>
                <c:pt idx="4">
                  <c:v>1689.65</c:v>
                </c:pt>
                <c:pt idx="5">
                  <c:v>5083.56</c:v>
                </c:pt>
                <c:pt idx="6">
                  <c:v>4481.55</c:v>
                </c:pt>
                <c:pt idx="7">
                  <c:v>10908.83</c:v>
                </c:pt>
                <c:pt idx="8">
                  <c:v>1336.88</c:v>
                </c:pt>
                <c:pt idx="9">
                  <c:v>1854.94</c:v>
                </c:pt>
                <c:pt idx="10">
                  <c:v>52287.3</c:v>
                </c:pt>
                <c:pt idx="11">
                  <c:v>3060.89</c:v>
                </c:pt>
                <c:pt idx="12">
                  <c:v>1134.37</c:v>
                </c:pt>
                <c:pt idx="13">
                  <c:v>2001.56</c:v>
                </c:pt>
                <c:pt idx="14">
                  <c:v>23299.97</c:v>
                </c:pt>
                <c:pt idx="15">
                  <c:v>1462.55</c:v>
                </c:pt>
                <c:pt idx="16">
                  <c:v>3719.3</c:v>
                </c:pt>
                <c:pt idx="17">
                  <c:v>38978.5</c:v>
                </c:pt>
                <c:pt idx="18">
                  <c:v>8229.01</c:v>
                </c:pt>
                <c:pt idx="19">
                  <c:v>7578.0</c:v>
                </c:pt>
                <c:pt idx="20">
                  <c:v>2148.37</c:v>
                </c:pt>
                <c:pt idx="21">
                  <c:v>1580.85</c:v>
                </c:pt>
                <c:pt idx="22">
                  <c:v>5965.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89</a:t>
                    </a:r>
                  </a:p>
                  <a:p>
                    <a:r>
                      <a:t>1379.09</a:t>
                    </a:r>
                  </a:p>
                </c:rich>
              </c:tx>
              <c:dLblPos val="l"/>
              <c:showLegendKey val="0"/>
              <c:showVal val="1"/>
              <c:showCatName val="0"/>
              <c:showSerName val="0"/>
              <c:showPercent val="0"/>
              <c:showBubbleSize val="0"/>
            </c:dLbl>
            <c:dLbl>
              <c:idx val="4"/>
              <c:tx>
                <c:rich>
                  <a:bodyPr/>
                  <a:lstStyle/>
                  <a:p>
                    <a:r>
                      <a:t>IX 39</a:t>
                    </a:r>
                  </a:p>
                  <a:p>
                    <a:r>
                      <a:t>1343.01</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IX 100</a:t>
                    </a:r>
                  </a:p>
                  <a:p>
                    <a:r>
                      <a:t>1467.21</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IX 100</a:t>
                    </a:r>
                  </a:p>
                  <a:p>
                    <a:r>
                      <a:t>1254.25</a:t>
                    </a:r>
                  </a:p>
                </c:rich>
              </c:tx>
              <c:dLblPos val="l"/>
              <c:showLegendKey val="0"/>
              <c:showVal val="1"/>
              <c:showCatName val="0"/>
              <c:showSerName val="0"/>
              <c:showPercent val="0"/>
              <c:showBubbleSize val="0"/>
            </c:dLbl>
            <c:dLbl>
              <c:idx val="13"/>
              <c:tx>
                <c:rich>
                  <a:bodyPr/>
                  <a:lstStyle/>
                  <a:p>
                    <a:r>
                      <a:t>IX 100</a:t>
                    </a:r>
                  </a:p>
                  <a:p>
                    <a:r>
                      <a:t>1827.73</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IX 100</a:t>
                    </a:r>
                  </a:p>
                  <a:p>
                    <a:r>
                      <a:t>1460.28</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IX 0</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IX 100</a:t>
                    </a:r>
                  </a:p>
                  <a:p>
                    <a:r>
                      <a:t>4352.0</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IX 100</a:t>
                    </a:r>
                  </a:p>
                  <a:p>
                    <a:r>
                      <a:t>5965.05</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9</c:v>
                </c:pt>
                <c:pt idx="4">
                  <c:v>IX 39</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C$2:$C$25</c:f>
              <c:numCache>
                <c:formatCode>General</c:formatCode>
                <c:ptCount val="24"/>
                <c:pt idx="3">
                  <c:v>1379.09</c:v>
                </c:pt>
                <c:pt idx="4">
                  <c:v>1343.01</c:v>
                </c:pt>
                <c:pt idx="8">
                  <c:v>1467.21</c:v>
                </c:pt>
                <c:pt idx="12">
                  <c:v>1254.25</c:v>
                </c:pt>
                <c:pt idx="13">
                  <c:v>1827.73</c:v>
                </c:pt>
                <c:pt idx="15">
                  <c:v>1460.28</c:v>
                </c:pt>
                <c:pt idx="20">
                  <c:v>4352.0</c:v>
                </c:pt>
                <c:pt idx="22">
                  <c:v>5965.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9</c:v>
                </c:pt>
                <c:pt idx="4">
                  <c:v>IX 39</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D$2:$D$25</c:f>
              <c:numCache>
                <c:formatCode>General</c:formatCode>
                <c:ptCount val="24"/>
                <c:pt idx="0">
                  <c:v>12652.21</c:v>
                </c:pt>
                <c:pt idx="1">
                  <c:v>13336.99</c:v>
                </c:pt>
                <c:pt idx="2">
                  <c:v>2602.64</c:v>
                </c:pt>
                <c:pt idx="5">
                  <c:v>7712.97</c:v>
                </c:pt>
                <c:pt idx="6">
                  <c:v>3248.4</c:v>
                </c:pt>
                <c:pt idx="10">
                  <c:v>52272.41</c:v>
                </c:pt>
                <c:pt idx="16">
                  <c:v>278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9</c:v>
                </c:pt>
                <c:pt idx="4">
                  <c:v>IX 39</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E$2:$E$25</c:f>
              <c:numCache>
                <c:formatCode>General</c:formatCode>
                <c:ptCount val="24"/>
                <c:pt idx="0">
                  <c:v>12589.97</c:v>
                </c:pt>
                <c:pt idx="1">
                  <c:v>12718.69</c:v>
                </c:pt>
                <c:pt idx="2">
                  <c:v>11741.4</c:v>
                </c:pt>
                <c:pt idx="5">
                  <c:v>8378.02</c:v>
                </c:pt>
                <c:pt idx="6">
                  <c:v>6688.99</c:v>
                </c:pt>
                <c:pt idx="11">
                  <c:v>5622.41</c:v>
                </c:pt>
                <c:pt idx="16">
                  <c:v>4909.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9</c:v>
                </c:pt>
                <c:pt idx="4">
                  <c:v>IX 39</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F$2:$F$25</c:f>
              <c:numCache>
                <c:formatCode>General</c:formatCode>
                <c:ptCount val="24"/>
                <c:pt idx="3">
                  <c:v>1551.32</c:v>
                </c:pt>
                <c:pt idx="4">
                  <c:v>3440.36</c:v>
                </c:pt>
                <c:pt idx="9">
                  <c:v>1825.72</c:v>
                </c:pt>
                <c:pt idx="18">
                  <c:v>8170.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87.796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743</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B$2:$B$25</c:f>
              <c:numCache>
                <c:formatCode>General</c:formatCode>
                <c:ptCount val="24"/>
                <c:pt idx="0">
                  <c:v>8438.15</c:v>
                </c:pt>
                <c:pt idx="1">
                  <c:v>13871.35</c:v>
                </c:pt>
                <c:pt idx="2">
                  <c:v>5330.27</c:v>
                </c:pt>
                <c:pt idx="3">
                  <c:v>1690.01</c:v>
                </c:pt>
                <c:pt idx="4">
                  <c:v>1689.65</c:v>
                </c:pt>
                <c:pt idx="5">
                  <c:v>5083.56</c:v>
                </c:pt>
                <c:pt idx="6">
                  <c:v>4481.55</c:v>
                </c:pt>
                <c:pt idx="7">
                  <c:v>10908.83</c:v>
                </c:pt>
                <c:pt idx="8">
                  <c:v>1336.88</c:v>
                </c:pt>
                <c:pt idx="9">
                  <c:v>1854.94</c:v>
                </c:pt>
                <c:pt idx="10">
                  <c:v>52287.3</c:v>
                </c:pt>
                <c:pt idx="11">
                  <c:v>3060.89</c:v>
                </c:pt>
                <c:pt idx="12">
                  <c:v>1134.37</c:v>
                </c:pt>
                <c:pt idx="13">
                  <c:v>2001.56</c:v>
                </c:pt>
                <c:pt idx="14">
                  <c:v>23299.97</c:v>
                </c:pt>
                <c:pt idx="15">
                  <c:v>1462.55</c:v>
                </c:pt>
                <c:pt idx="16">
                  <c:v>3719.3</c:v>
                </c:pt>
                <c:pt idx="17">
                  <c:v>38978.5</c:v>
                </c:pt>
                <c:pt idx="18">
                  <c:v>8229.01</c:v>
                </c:pt>
                <c:pt idx="19">
                  <c:v>7578.0</c:v>
                </c:pt>
                <c:pt idx="20">
                  <c:v>2148.37</c:v>
                </c:pt>
                <c:pt idx="21">
                  <c:v>1580.85</c:v>
                </c:pt>
                <c:pt idx="22">
                  <c:v>5965.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743</a:t>
                    </a:r>
                  </a:p>
                  <a:p>
                    <a:r>
                      <a:t>11522.4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None</a:t>
                    </a:r>
                  </a:p>
                  <a:p>
                    <a:r>
                      <a:t>None</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743</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C$2:$C$25</c:f>
              <c:numCache>
                <c:formatCode>General</c:formatCode>
                <c:ptCount val="24"/>
                <c:pt idx="3">
                  <c:v>11522.4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743</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D$2:$D$25</c:f>
              <c:numCache>
                <c:formatCode>General</c:formatCode>
                <c:ptCount val="24"/>
                <c:pt idx="0">
                  <c:v>12652.21</c:v>
                </c:pt>
                <c:pt idx="1">
                  <c:v>13336.99</c:v>
                </c:pt>
                <c:pt idx="2">
                  <c:v>2602.64</c:v>
                </c:pt>
                <c:pt idx="5">
                  <c:v>7712.97</c:v>
                </c:pt>
                <c:pt idx="6">
                  <c:v>3248.4</c:v>
                </c:pt>
                <c:pt idx="10">
                  <c:v>52272.41</c:v>
                </c:pt>
                <c:pt idx="16">
                  <c:v>278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743</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E$2:$E$25</c:f>
              <c:numCache>
                <c:formatCode>General</c:formatCode>
                <c:ptCount val="24"/>
                <c:pt idx="0">
                  <c:v>12589.97</c:v>
                </c:pt>
                <c:pt idx="1">
                  <c:v>12718.69</c:v>
                </c:pt>
                <c:pt idx="2">
                  <c:v>11741.4</c:v>
                </c:pt>
                <c:pt idx="5">
                  <c:v>8378.02</c:v>
                </c:pt>
                <c:pt idx="6">
                  <c:v>6688.99</c:v>
                </c:pt>
                <c:pt idx="11">
                  <c:v>5622.41</c:v>
                </c:pt>
                <c:pt idx="16">
                  <c:v>4909.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743</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F$2:$F$25</c:f>
              <c:numCache>
                <c:formatCode>General</c:formatCode>
                <c:ptCount val="24"/>
                <c:pt idx="3">
                  <c:v>1551.32</c:v>
                </c:pt>
                <c:pt idx="4">
                  <c:v>3440.36</c:v>
                </c:pt>
                <c:pt idx="9">
                  <c:v>1825.72</c:v>
                </c:pt>
                <c:pt idx="18">
                  <c:v>8170.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87.796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6</c:v>
                </c:pt>
                <c:pt idx="1">
                  <c:v/>
                </c:pt>
                <c:pt idx="2">
                  <c:v>IX 91</c:v>
                </c:pt>
                <c:pt idx="3">
                  <c:v/>
                </c:pt>
                <c:pt idx="4">
                  <c:v/>
                </c:pt>
                <c:pt idx="5">
                  <c:v/>
                </c:pt>
                <c:pt idx="6">
                  <c:v>IX 100</c:v>
                </c:pt>
                <c:pt idx="7">
                  <c:v/>
                </c:pt>
                <c:pt idx="8">
                  <c:v/>
                </c:pt>
                <c:pt idx="9">
                  <c:v/>
                </c:pt>
                <c:pt idx="10">
                  <c:v/>
                </c:pt>
                <c:pt idx="11">
                  <c:v/>
                </c:pt>
                <c:pt idx="12">
                  <c:v/>
                </c:pt>
                <c:pt idx="13">
                  <c:v/>
                </c:pt>
                <c:pt idx="14">
                  <c:v/>
                </c:pt>
                <c:pt idx="15">
                  <c:v/>
                </c:pt>
              </c:strCache>
            </c:strRef>
          </c:cat>
          <c:val>
            <c:numRef>
              <c:f>Sheet1!$B$2:$B$17</c:f>
              <c:numCache>
                <c:formatCode>General</c:formatCode>
                <c:ptCount val="16"/>
                <c:pt idx="0">
                  <c:v>1124.79</c:v>
                </c:pt>
                <c:pt idx="1">
                  <c:v>2094.53</c:v>
                </c:pt>
                <c:pt idx="2">
                  <c:v>1379.15</c:v>
                </c:pt>
                <c:pt idx="3">
                  <c:v>1828.08</c:v>
                </c:pt>
                <c:pt idx="4">
                  <c:v>686.5</c:v>
                </c:pt>
                <c:pt idx="5">
                  <c:v>1874.19</c:v>
                </c:pt>
                <c:pt idx="6">
                  <c:v>1045.02</c:v>
                </c:pt>
                <c:pt idx="7">
                  <c:v>2064.52</c:v>
                </c:pt>
                <c:pt idx="8">
                  <c:v>768.52</c:v>
                </c:pt>
                <c:pt idx="9">
                  <c:v>13214.68</c:v>
                </c:pt>
                <c:pt idx="10">
                  <c:v>1108.83</c:v>
                </c:pt>
                <c:pt idx="11">
                  <c:v>6042.8</c:v>
                </c:pt>
                <c:pt idx="12">
                  <c:v>891.14</c:v>
                </c:pt>
                <c:pt idx="13">
                  <c:v>18560.0</c:v>
                </c:pt>
                <c:pt idx="14">
                  <c:v>3787.8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6</a:t>
                    </a:r>
                  </a:p>
                  <a:p>
                    <a:r>
                      <a:t>984.6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91</a:t>
                    </a:r>
                  </a:p>
                  <a:p>
                    <a:r>
                      <a:t>1259.7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1038.41</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6</c:v>
                </c:pt>
                <c:pt idx="1">
                  <c:v/>
                </c:pt>
                <c:pt idx="2">
                  <c:v>IX 91</c:v>
                </c:pt>
                <c:pt idx="3">
                  <c:v/>
                </c:pt>
                <c:pt idx="4">
                  <c:v/>
                </c:pt>
                <c:pt idx="5">
                  <c:v/>
                </c:pt>
                <c:pt idx="6">
                  <c:v>IX 100</c:v>
                </c:pt>
                <c:pt idx="7">
                  <c:v/>
                </c:pt>
                <c:pt idx="8">
                  <c:v/>
                </c:pt>
                <c:pt idx="9">
                  <c:v/>
                </c:pt>
                <c:pt idx="10">
                  <c:v/>
                </c:pt>
                <c:pt idx="11">
                  <c:v/>
                </c:pt>
                <c:pt idx="12">
                  <c:v/>
                </c:pt>
                <c:pt idx="13">
                  <c:v/>
                </c:pt>
                <c:pt idx="14">
                  <c:v/>
                </c:pt>
                <c:pt idx="15">
                  <c:v/>
                </c:pt>
              </c:strCache>
            </c:strRef>
          </c:cat>
          <c:val>
            <c:numRef>
              <c:f>Sheet1!$C$2:$C$17</c:f>
              <c:numCache>
                <c:formatCode>General</c:formatCode>
                <c:ptCount val="16"/>
                <c:pt idx="0">
                  <c:v>984.64</c:v>
                </c:pt>
                <c:pt idx="2">
                  <c:v>1259.74</c:v>
                </c:pt>
                <c:pt idx="6">
                  <c:v>1038.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6</c:v>
                </c:pt>
                <c:pt idx="1">
                  <c:v/>
                </c:pt>
                <c:pt idx="2">
                  <c:v>IX 91</c:v>
                </c:pt>
                <c:pt idx="3">
                  <c:v/>
                </c:pt>
                <c:pt idx="4">
                  <c:v/>
                </c:pt>
                <c:pt idx="5">
                  <c:v/>
                </c:pt>
                <c:pt idx="6">
                  <c:v>IX 100</c:v>
                </c:pt>
                <c:pt idx="7">
                  <c:v/>
                </c:pt>
                <c:pt idx="8">
                  <c:v/>
                </c:pt>
                <c:pt idx="9">
                  <c:v/>
                </c:pt>
                <c:pt idx="10">
                  <c:v/>
                </c:pt>
                <c:pt idx="11">
                  <c:v/>
                </c:pt>
                <c:pt idx="12">
                  <c:v/>
                </c:pt>
                <c:pt idx="13">
                  <c:v/>
                </c:pt>
                <c:pt idx="14">
                  <c:v/>
                </c:pt>
                <c:pt idx="15">
                  <c:v/>
                </c:pt>
              </c:strCache>
            </c:strRef>
          </c:cat>
          <c:val>
            <c:numRef>
              <c:f>Sheet1!$D$2:$D$17</c:f>
              <c:numCache>
                <c:formatCode>General</c:formatCode>
                <c:ptCount val="16"/>
                <c:pt idx="0">
                  <c:v>2717.15</c:v>
                </c:pt>
                <c:pt idx="2">
                  <c:v>1382.31</c:v>
                </c:pt>
                <c:pt idx="3">
                  <c:v>1828.0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Garn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6</c:v>
                </c:pt>
                <c:pt idx="1">
                  <c:v/>
                </c:pt>
                <c:pt idx="2">
                  <c:v>IX 91</c:v>
                </c:pt>
                <c:pt idx="3">
                  <c:v/>
                </c:pt>
                <c:pt idx="4">
                  <c:v/>
                </c:pt>
                <c:pt idx="5">
                  <c:v/>
                </c:pt>
                <c:pt idx="6">
                  <c:v>IX 100</c:v>
                </c:pt>
                <c:pt idx="7">
                  <c:v/>
                </c:pt>
                <c:pt idx="8">
                  <c:v/>
                </c:pt>
                <c:pt idx="9">
                  <c:v/>
                </c:pt>
                <c:pt idx="10">
                  <c:v/>
                </c:pt>
                <c:pt idx="11">
                  <c:v/>
                </c:pt>
                <c:pt idx="12">
                  <c:v/>
                </c:pt>
                <c:pt idx="13">
                  <c:v/>
                </c:pt>
                <c:pt idx="14">
                  <c:v/>
                </c:pt>
                <c:pt idx="15">
                  <c:v/>
                </c:pt>
              </c:strCache>
            </c:strRef>
          </c:cat>
          <c:val>
            <c:numRef>
              <c:f>Sheet1!$E$2:$E$17</c:f>
              <c:numCache>
                <c:formatCode>General</c:formatCode>
                <c:ptCount val="16"/>
                <c:pt idx="11">
                  <c:v>604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6</c:v>
                </c:pt>
                <c:pt idx="1">
                  <c:v/>
                </c:pt>
                <c:pt idx="2">
                  <c:v>IX 91</c:v>
                </c:pt>
                <c:pt idx="3">
                  <c:v/>
                </c:pt>
                <c:pt idx="4">
                  <c:v/>
                </c:pt>
                <c:pt idx="5">
                  <c:v/>
                </c:pt>
                <c:pt idx="6">
                  <c:v>IX 100</c:v>
                </c:pt>
                <c:pt idx="7">
                  <c:v/>
                </c:pt>
                <c:pt idx="8">
                  <c:v/>
                </c:pt>
                <c:pt idx="9">
                  <c:v/>
                </c:pt>
                <c:pt idx="10">
                  <c:v/>
                </c:pt>
                <c:pt idx="11">
                  <c:v/>
                </c:pt>
                <c:pt idx="12">
                  <c:v/>
                </c:pt>
                <c:pt idx="13">
                  <c:v/>
                </c:pt>
                <c:pt idx="14">
                  <c:v/>
                </c:pt>
                <c:pt idx="15">
                  <c:v/>
                </c:pt>
              </c:strCache>
            </c:strRef>
          </c:cat>
          <c:val>
            <c:numRef>
              <c:f>Sheet1!$F$2:$F$17</c:f>
              <c:numCache>
                <c:formatCode>General</c:formatCode>
                <c:ptCount val="16"/>
                <c:pt idx="1">
                  <c:v>8692.82</c:v>
                </c:pt>
                <c:pt idx="5">
                  <c:v>1874.19</c:v>
                </c:pt>
                <c:pt idx="9">
                  <c:v>13214.6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560.5"/>
          <c:min val="685.99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7</c:v>
                </c:pt>
                <c:pt idx="1">
                  <c:v/>
                </c:pt>
                <c:pt idx="2">
                  <c:v>IX 107</c:v>
                </c:pt>
                <c:pt idx="3">
                  <c:v/>
                </c:pt>
                <c:pt idx="4">
                  <c:v>IX 100</c:v>
                </c:pt>
                <c:pt idx="5">
                  <c:v/>
                </c:pt>
                <c:pt idx="6">
                  <c:v>IX 100</c:v>
                </c:pt>
                <c:pt idx="7">
                  <c:v>IX 100</c:v>
                </c:pt>
                <c:pt idx="8">
                  <c:v>IX 0</c:v>
                </c:pt>
                <c:pt idx="9">
                  <c:v/>
                </c:pt>
                <c:pt idx="10">
                  <c:v>IX 100</c:v>
                </c:pt>
                <c:pt idx="11">
                  <c:v/>
                </c:pt>
                <c:pt idx="12">
                  <c:v/>
                </c:pt>
                <c:pt idx="13">
                  <c:v/>
                </c:pt>
                <c:pt idx="14">
                  <c:v/>
                </c:pt>
                <c:pt idx="15">
                  <c:v/>
                </c:pt>
              </c:strCache>
            </c:strRef>
          </c:cat>
          <c:val>
            <c:numRef>
              <c:f>Sheet1!$B$2:$B$17</c:f>
              <c:numCache>
                <c:formatCode>General</c:formatCode>
                <c:ptCount val="16"/>
                <c:pt idx="0">
                  <c:v>1124.79</c:v>
                </c:pt>
                <c:pt idx="1">
                  <c:v>2094.53</c:v>
                </c:pt>
                <c:pt idx="2">
                  <c:v>1379.15</c:v>
                </c:pt>
                <c:pt idx="3">
                  <c:v>1828.08</c:v>
                </c:pt>
                <c:pt idx="4">
                  <c:v>686.5</c:v>
                </c:pt>
                <c:pt idx="5">
                  <c:v>1874.19</c:v>
                </c:pt>
                <c:pt idx="6">
                  <c:v>1045.02</c:v>
                </c:pt>
                <c:pt idx="7">
                  <c:v>2064.52</c:v>
                </c:pt>
                <c:pt idx="8">
                  <c:v>768.52</c:v>
                </c:pt>
                <c:pt idx="9">
                  <c:v>13214.68</c:v>
                </c:pt>
                <c:pt idx="10">
                  <c:v>1108.83</c:v>
                </c:pt>
                <c:pt idx="11">
                  <c:v>6042.8</c:v>
                </c:pt>
                <c:pt idx="12">
                  <c:v>891.14</c:v>
                </c:pt>
                <c:pt idx="13">
                  <c:v>18560.0</c:v>
                </c:pt>
                <c:pt idx="14">
                  <c:v>3787.8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7</a:t>
                    </a:r>
                  </a:p>
                  <a:p>
                    <a:r>
                      <a:t>101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7</a:t>
                    </a:r>
                  </a:p>
                  <a:p>
                    <a:r>
                      <a:t>1473.69</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167.46</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1057.44</a:t>
                    </a:r>
                  </a:p>
                </c:rich>
              </c:tx>
              <c:dLblPos val="l"/>
              <c:showLegendKey val="0"/>
              <c:showVal val="1"/>
              <c:showCatName val="0"/>
              <c:showSerName val="0"/>
              <c:showPercent val="0"/>
              <c:showBubbleSize val="0"/>
            </c:dLbl>
            <c:dLbl>
              <c:idx val="7"/>
              <c:tx>
                <c:rich>
                  <a:bodyPr/>
                  <a:lstStyle/>
                  <a:p>
                    <a:r>
                      <a:t>IX 100</a:t>
                    </a:r>
                  </a:p>
                  <a:p>
                    <a:r>
                      <a:t>2099.76</a:t>
                    </a:r>
                  </a:p>
                </c:rich>
              </c:tx>
              <c:dLblPos val="l"/>
              <c:showLegendKey val="0"/>
              <c:showVal val="1"/>
              <c:showCatName val="0"/>
              <c:showSerName val="0"/>
              <c:showPercent val="0"/>
              <c:showBubbleSize val="0"/>
            </c:dLbl>
            <c:dLbl>
              <c:idx val="8"/>
              <c:tx>
                <c:rich>
                  <a:bodyPr/>
                  <a:lstStyle/>
                  <a:p>
                    <a:r>
                      <a:t>IX 0</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1224.22</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7</c:v>
                </c:pt>
                <c:pt idx="1">
                  <c:v/>
                </c:pt>
                <c:pt idx="2">
                  <c:v>IX 107</c:v>
                </c:pt>
                <c:pt idx="3">
                  <c:v/>
                </c:pt>
                <c:pt idx="4">
                  <c:v>IX 100</c:v>
                </c:pt>
                <c:pt idx="5">
                  <c:v/>
                </c:pt>
                <c:pt idx="6">
                  <c:v>IX 100</c:v>
                </c:pt>
                <c:pt idx="7">
                  <c:v>IX 100</c:v>
                </c:pt>
                <c:pt idx="8">
                  <c:v>IX 0</c:v>
                </c:pt>
                <c:pt idx="9">
                  <c:v/>
                </c:pt>
                <c:pt idx="10">
                  <c:v>IX 100</c:v>
                </c:pt>
                <c:pt idx="11">
                  <c:v/>
                </c:pt>
                <c:pt idx="12">
                  <c:v/>
                </c:pt>
                <c:pt idx="13">
                  <c:v/>
                </c:pt>
                <c:pt idx="14">
                  <c:v/>
                </c:pt>
                <c:pt idx="15">
                  <c:v/>
                </c:pt>
              </c:strCache>
            </c:strRef>
          </c:cat>
          <c:val>
            <c:numRef>
              <c:f>Sheet1!$C$2:$C$17</c:f>
              <c:numCache>
                <c:formatCode>General</c:formatCode>
                <c:ptCount val="16"/>
                <c:pt idx="0">
                  <c:v>1016.7</c:v>
                </c:pt>
                <c:pt idx="2">
                  <c:v>1473.69</c:v>
                </c:pt>
                <c:pt idx="4">
                  <c:v>1167.46</c:v>
                </c:pt>
                <c:pt idx="6">
                  <c:v>1057.44</c:v>
                </c:pt>
                <c:pt idx="7">
                  <c:v>2099.76</c:v>
                </c:pt>
                <c:pt idx="10">
                  <c:v>122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7</c:v>
                </c:pt>
                <c:pt idx="1">
                  <c:v/>
                </c:pt>
                <c:pt idx="2">
                  <c:v>IX 107</c:v>
                </c:pt>
                <c:pt idx="3">
                  <c:v/>
                </c:pt>
                <c:pt idx="4">
                  <c:v>IX 100</c:v>
                </c:pt>
                <c:pt idx="5">
                  <c:v/>
                </c:pt>
                <c:pt idx="6">
                  <c:v>IX 100</c:v>
                </c:pt>
                <c:pt idx="7">
                  <c:v>IX 100</c:v>
                </c:pt>
                <c:pt idx="8">
                  <c:v>IX 0</c:v>
                </c:pt>
                <c:pt idx="9">
                  <c:v/>
                </c:pt>
                <c:pt idx="10">
                  <c:v>IX 100</c:v>
                </c:pt>
                <c:pt idx="11">
                  <c:v/>
                </c:pt>
                <c:pt idx="12">
                  <c:v/>
                </c:pt>
                <c:pt idx="13">
                  <c:v/>
                </c:pt>
                <c:pt idx="14">
                  <c:v/>
                </c:pt>
                <c:pt idx="15">
                  <c:v/>
                </c:pt>
              </c:strCache>
            </c:strRef>
          </c:cat>
          <c:val>
            <c:numRef>
              <c:f>Sheet1!$D$2:$D$17</c:f>
              <c:numCache>
                <c:formatCode>General</c:formatCode>
                <c:ptCount val="16"/>
                <c:pt idx="0">
                  <c:v>2717.15</c:v>
                </c:pt>
                <c:pt idx="2">
                  <c:v>1382.31</c:v>
                </c:pt>
                <c:pt idx="3">
                  <c:v>1828.0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Garn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7</c:v>
                </c:pt>
                <c:pt idx="1">
                  <c:v/>
                </c:pt>
                <c:pt idx="2">
                  <c:v>IX 107</c:v>
                </c:pt>
                <c:pt idx="3">
                  <c:v/>
                </c:pt>
                <c:pt idx="4">
                  <c:v>IX 100</c:v>
                </c:pt>
                <c:pt idx="5">
                  <c:v/>
                </c:pt>
                <c:pt idx="6">
                  <c:v>IX 100</c:v>
                </c:pt>
                <c:pt idx="7">
                  <c:v>IX 100</c:v>
                </c:pt>
                <c:pt idx="8">
                  <c:v>IX 0</c:v>
                </c:pt>
                <c:pt idx="9">
                  <c:v/>
                </c:pt>
                <c:pt idx="10">
                  <c:v>IX 100</c:v>
                </c:pt>
                <c:pt idx="11">
                  <c:v/>
                </c:pt>
                <c:pt idx="12">
                  <c:v/>
                </c:pt>
                <c:pt idx="13">
                  <c:v/>
                </c:pt>
                <c:pt idx="14">
                  <c:v/>
                </c:pt>
                <c:pt idx="15">
                  <c:v/>
                </c:pt>
              </c:strCache>
            </c:strRef>
          </c:cat>
          <c:val>
            <c:numRef>
              <c:f>Sheet1!$E$2:$E$17</c:f>
              <c:numCache>
                <c:formatCode>General</c:formatCode>
                <c:ptCount val="16"/>
                <c:pt idx="11">
                  <c:v>6042.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7</c:v>
                </c:pt>
                <c:pt idx="1">
                  <c:v/>
                </c:pt>
                <c:pt idx="2">
                  <c:v>IX 107</c:v>
                </c:pt>
                <c:pt idx="3">
                  <c:v/>
                </c:pt>
                <c:pt idx="4">
                  <c:v>IX 100</c:v>
                </c:pt>
                <c:pt idx="5">
                  <c:v/>
                </c:pt>
                <c:pt idx="6">
                  <c:v>IX 100</c:v>
                </c:pt>
                <c:pt idx="7">
                  <c:v>IX 100</c:v>
                </c:pt>
                <c:pt idx="8">
                  <c:v>IX 0</c:v>
                </c:pt>
                <c:pt idx="9">
                  <c:v/>
                </c:pt>
                <c:pt idx="10">
                  <c:v>IX 100</c:v>
                </c:pt>
                <c:pt idx="11">
                  <c:v/>
                </c:pt>
                <c:pt idx="12">
                  <c:v/>
                </c:pt>
                <c:pt idx="13">
                  <c:v/>
                </c:pt>
                <c:pt idx="14">
                  <c:v/>
                </c:pt>
                <c:pt idx="15">
                  <c:v/>
                </c:pt>
              </c:strCache>
            </c:strRef>
          </c:cat>
          <c:val>
            <c:numRef>
              <c:f>Sheet1!$F$2:$F$17</c:f>
              <c:numCache>
                <c:formatCode>General</c:formatCode>
                <c:ptCount val="16"/>
                <c:pt idx="1">
                  <c:v>8692.82</c:v>
                </c:pt>
                <c:pt idx="5">
                  <c:v>1874.19</c:v>
                </c:pt>
                <c:pt idx="9">
                  <c:v>13214.6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56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
                </c:pt>
                <c:pt idx="1">
                  <c:v/>
                </c:pt>
                <c:pt idx="2">
                  <c:v>IX 124</c:v>
                </c:pt>
                <c:pt idx="3">
                  <c:v/>
                </c:pt>
                <c:pt idx="4">
                  <c:v/>
                </c:pt>
                <c:pt idx="5">
                  <c:v/>
                </c:pt>
                <c:pt idx="6">
                  <c:v/>
                </c:pt>
                <c:pt idx="7">
                  <c:v/>
                </c:pt>
                <c:pt idx="8">
                  <c:v/>
                </c:pt>
                <c:pt idx="9">
                  <c:v/>
                </c:pt>
                <c:pt idx="10">
                  <c:v/>
                </c:pt>
                <c:pt idx="11">
                  <c:v/>
                </c:pt>
                <c:pt idx="12">
                  <c:v/>
                </c:pt>
                <c:pt idx="13">
                  <c:v/>
                </c:pt>
                <c:pt idx="14">
                  <c:v/>
                </c:pt>
                <c:pt idx="15">
                  <c:v/>
                </c:pt>
              </c:strCache>
            </c:strRef>
          </c:cat>
          <c:val>
            <c:numRef>
              <c:f>Sheet1!$B$2:$B$17</c:f>
              <c:numCache>
                <c:formatCode>General</c:formatCode>
                <c:ptCount val="16"/>
                <c:pt idx="0">
                  <c:v>1124.79</c:v>
                </c:pt>
                <c:pt idx="1">
                  <c:v>2094.53</c:v>
                </c:pt>
                <c:pt idx="2">
                  <c:v>1379.15</c:v>
                </c:pt>
                <c:pt idx="3">
                  <c:v>1828.08</c:v>
                </c:pt>
                <c:pt idx="4">
                  <c:v>686.5</c:v>
                </c:pt>
                <c:pt idx="5">
                  <c:v>1874.19</c:v>
                </c:pt>
                <c:pt idx="6">
                  <c:v>1045.02</c:v>
                </c:pt>
                <c:pt idx="7">
                  <c:v>2064.52</c:v>
                </c:pt>
                <c:pt idx="8">
                  <c:v>768.52</c:v>
                </c:pt>
                <c:pt idx="9">
                  <c:v>13214.68</c:v>
                </c:pt>
                <c:pt idx="10">
                  <c:v>1108.83</c:v>
                </c:pt>
                <c:pt idx="11">
                  <c:v>6042.8</c:v>
                </c:pt>
                <c:pt idx="12">
                  <c:v>891.14</c:v>
                </c:pt>
                <c:pt idx="13">
                  <c:v>18560.0</c:v>
                </c:pt>
                <c:pt idx="14">
                  <c:v>3787.8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24</a:t>
                    </a:r>
                  </a:p>
                  <a:p>
                    <a:r>
                      <a:t>1715.6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
                </c:pt>
                <c:pt idx="1">
                  <c:v/>
                </c:pt>
                <c:pt idx="2">
                  <c:v>IX 124</c:v>
                </c:pt>
                <c:pt idx="3">
                  <c:v/>
                </c:pt>
                <c:pt idx="4">
                  <c:v/>
                </c:pt>
                <c:pt idx="5">
                  <c:v/>
                </c:pt>
                <c:pt idx="6">
                  <c:v/>
                </c:pt>
                <c:pt idx="7">
                  <c:v/>
                </c:pt>
                <c:pt idx="8">
                  <c:v/>
                </c:pt>
                <c:pt idx="9">
                  <c:v/>
                </c:pt>
                <c:pt idx="10">
                  <c:v/>
                </c:pt>
                <c:pt idx="11">
                  <c:v/>
                </c:pt>
                <c:pt idx="12">
                  <c:v/>
                </c:pt>
                <c:pt idx="13">
                  <c:v/>
                </c:pt>
                <c:pt idx="14">
                  <c:v/>
                </c:pt>
                <c:pt idx="15">
                  <c:v/>
                </c:pt>
              </c:strCache>
            </c:strRef>
          </c:cat>
          <c:val>
            <c:numRef>
              <c:f>Sheet1!$C$2:$C$17</c:f>
              <c:numCache>
                <c:formatCode>General</c:formatCode>
                <c:ptCount val="16"/>
                <c:pt idx="2">
                  <c:v>1715.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
                </c:pt>
                <c:pt idx="1">
                  <c:v/>
                </c:pt>
                <c:pt idx="2">
                  <c:v>IX 124</c:v>
                </c:pt>
                <c:pt idx="3">
                  <c:v/>
                </c:pt>
                <c:pt idx="4">
                  <c:v/>
                </c:pt>
                <c:pt idx="5">
                  <c:v/>
                </c:pt>
                <c:pt idx="6">
                  <c:v/>
                </c:pt>
                <c:pt idx="7">
                  <c:v/>
                </c:pt>
                <c:pt idx="8">
                  <c:v/>
                </c:pt>
                <c:pt idx="9">
                  <c:v/>
                </c:pt>
                <c:pt idx="10">
                  <c:v/>
                </c:pt>
                <c:pt idx="11">
                  <c:v/>
                </c:pt>
                <c:pt idx="12">
                  <c:v/>
                </c:pt>
                <c:pt idx="13">
                  <c:v/>
                </c:pt>
                <c:pt idx="14">
                  <c:v/>
                </c:pt>
                <c:pt idx="15">
                  <c:v/>
                </c:pt>
              </c:strCache>
            </c:strRef>
          </c:cat>
          <c:val>
            <c:numRef>
              <c:f>Sheet1!$D$2:$D$17</c:f>
              <c:numCache>
                <c:formatCode>General</c:formatCode>
                <c:ptCount val="16"/>
                <c:pt idx="0">
                  <c:v>2717.15</c:v>
                </c:pt>
                <c:pt idx="2">
                  <c:v>1382.31</c:v>
                </c:pt>
                <c:pt idx="3">
                  <c:v>1828.0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
                </c:pt>
                <c:pt idx="1">
                  <c:v/>
                </c:pt>
                <c:pt idx="2">
                  <c:v>IX 124</c:v>
                </c:pt>
                <c:pt idx="3">
                  <c:v/>
                </c:pt>
                <c:pt idx="4">
                  <c:v/>
                </c:pt>
                <c:pt idx="5">
                  <c:v/>
                </c:pt>
                <c:pt idx="6">
                  <c:v/>
                </c:pt>
                <c:pt idx="7">
                  <c:v/>
                </c:pt>
                <c:pt idx="8">
                  <c:v/>
                </c:pt>
                <c:pt idx="9">
                  <c:v/>
                </c:pt>
                <c:pt idx="10">
                  <c:v/>
                </c:pt>
                <c:pt idx="11">
                  <c:v/>
                </c:pt>
                <c:pt idx="12">
                  <c:v/>
                </c:pt>
                <c:pt idx="13">
                  <c:v/>
                </c:pt>
                <c:pt idx="14">
                  <c:v/>
                </c:pt>
                <c:pt idx="15">
                  <c:v/>
                </c:pt>
              </c:strCache>
            </c:strRef>
          </c:cat>
          <c:val>
            <c:numRef>
              <c:f>Sheet1!$E$2:$E$17</c:f>
              <c:numCache>
                <c:formatCode>General</c:formatCode>
                <c:ptCount val="16"/>
                <c:pt idx="1">
                  <c:v>8692.82</c:v>
                </c:pt>
                <c:pt idx="5">
                  <c:v>1874.19</c:v>
                </c:pt>
                <c:pt idx="9">
                  <c:v>13214.6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
                </c:pt>
                <c:pt idx="1">
                  <c:v/>
                </c:pt>
                <c:pt idx="2">
                  <c:v>IX 124</c:v>
                </c:pt>
                <c:pt idx="3">
                  <c:v/>
                </c:pt>
                <c:pt idx="4">
                  <c:v/>
                </c:pt>
                <c:pt idx="5">
                  <c:v/>
                </c:pt>
                <c:pt idx="6">
                  <c:v/>
                </c:pt>
                <c:pt idx="7">
                  <c:v/>
                </c:pt>
                <c:pt idx="8">
                  <c:v/>
                </c:pt>
                <c:pt idx="9">
                  <c:v/>
                </c:pt>
                <c:pt idx="10">
                  <c:v/>
                </c:pt>
                <c:pt idx="11">
                  <c:v/>
                </c:pt>
                <c:pt idx="12">
                  <c:v/>
                </c:pt>
                <c:pt idx="13">
                  <c:v/>
                </c:pt>
                <c:pt idx="14">
                  <c:v/>
                </c:pt>
                <c:pt idx="15">
                  <c:v/>
                </c:pt>
              </c:strCache>
            </c:strRef>
          </c:cat>
          <c:val>
            <c:numRef>
              <c:f>Sheet1!$F$2:$F$17</c:f>
              <c:numCache>
                <c:formatCode>General</c:formatCode>
                <c:ptCount val="16"/>
                <c:pt idx="11">
                  <c:v>604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560.5"/>
          <c:min val="685.99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50</c:v>
                </c:pt>
                <c:pt idx="1">
                  <c:v>IX 94</c:v>
                </c:pt>
                <c:pt idx="2">
                  <c:v/>
                </c:pt>
                <c:pt idx="3">
                  <c:v/>
                </c:pt>
                <c:pt idx="4">
                  <c:v>IX 100</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B$2:$B$27</c:f>
              <c:numCache>
                <c:formatCode>General</c:formatCode>
                <c:ptCount val="26"/>
                <c:pt idx="0">
                  <c:v>1308.64</c:v>
                </c:pt>
                <c:pt idx="1">
                  <c:v>1333.14</c:v>
                </c:pt>
                <c:pt idx="2">
                  <c:v>4196.25</c:v>
                </c:pt>
                <c:pt idx="3">
                  <c:v>1392.42</c:v>
                </c:pt>
                <c:pt idx="4">
                  <c:v>1196.97</c:v>
                </c:pt>
                <c:pt idx="5">
                  <c:v>862.07</c:v>
                </c:pt>
                <c:pt idx="6">
                  <c:v>1373.74</c:v>
                </c:pt>
                <c:pt idx="7">
                  <c:v>13667.19</c:v>
                </c:pt>
                <c:pt idx="8">
                  <c:v>4308.22</c:v>
                </c:pt>
                <c:pt idx="9">
                  <c:v>5583.2</c:v>
                </c:pt>
                <c:pt idx="10">
                  <c:v>1546.69</c:v>
                </c:pt>
                <c:pt idx="11">
                  <c:v>3072.75</c:v>
                </c:pt>
                <c:pt idx="12">
                  <c:v>6183.84</c:v>
                </c:pt>
                <c:pt idx="13">
                  <c:v>5288.91</c:v>
                </c:pt>
                <c:pt idx="14">
                  <c:v>18187.01</c:v>
                </c:pt>
                <c:pt idx="15">
                  <c:v>1571.44</c:v>
                </c:pt>
                <c:pt idx="16">
                  <c:v>61148.21</c:v>
                </c:pt>
                <c:pt idx="17">
                  <c:v>4187.38</c:v>
                </c:pt>
                <c:pt idx="18">
                  <c:v>1636.52</c:v>
                </c:pt>
                <c:pt idx="19">
                  <c:v>2773.41</c:v>
                </c:pt>
                <c:pt idx="20">
                  <c:v>5981.91</c:v>
                </c:pt>
                <c:pt idx="21">
                  <c:v>1048.63</c:v>
                </c:pt>
                <c:pt idx="22">
                  <c:v>2888.57</c:v>
                </c:pt>
                <c:pt idx="23">
                  <c:v>2885.89</c:v>
                </c:pt>
                <c:pt idx="24">
                  <c:v>5085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0</a:t>
                    </a:r>
                  </a:p>
                  <a:p>
                    <a:r>
                      <a:t>1159.99</a:t>
                    </a:r>
                  </a:p>
                </c:rich>
              </c:tx>
              <c:dLblPos val="l"/>
              <c:showLegendKey val="0"/>
              <c:showVal val="1"/>
              <c:showCatName val="0"/>
              <c:showSerName val="0"/>
              <c:showPercent val="0"/>
              <c:showBubbleSize val="0"/>
            </c:dLbl>
            <c:dLbl>
              <c:idx val="1"/>
              <c:tx>
                <c:rich>
                  <a:bodyPr/>
                  <a:lstStyle/>
                  <a:p>
                    <a:r>
                      <a:t>IX 94</a:t>
                    </a:r>
                  </a:p>
                  <a:p>
                    <a:r>
                      <a:t>1262.1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169.39</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None</a:t>
                    </a:r>
                  </a:p>
                  <a:p>
                    <a:r>
                      <a:t>None</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dLbl>
              <c:idx val="24"/>
              <c:tx>
                <c:rich>
                  <a:bodyPr/>
                  <a:lstStyle/>
                  <a:p>
                    <a:r>
                      <a:t>None</a:t>
                    </a:r>
                  </a:p>
                  <a:p>
                    <a:r>
                      <a:t>None</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50</c:v>
                </c:pt>
                <c:pt idx="1">
                  <c:v>IX 94</c:v>
                </c:pt>
                <c:pt idx="2">
                  <c:v/>
                </c:pt>
                <c:pt idx="3">
                  <c:v/>
                </c:pt>
                <c:pt idx="4">
                  <c:v>IX 100</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C$2:$C$27</c:f>
              <c:numCache>
                <c:formatCode>General</c:formatCode>
                <c:ptCount val="26"/>
                <c:pt idx="0">
                  <c:v>1159.99</c:v>
                </c:pt>
                <c:pt idx="1">
                  <c:v>1262.17</c:v>
                </c:pt>
                <c:pt idx="4">
                  <c:v>1169.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50</c:v>
                </c:pt>
                <c:pt idx="1">
                  <c:v>IX 94</c:v>
                </c:pt>
                <c:pt idx="2">
                  <c:v/>
                </c:pt>
                <c:pt idx="3">
                  <c:v/>
                </c:pt>
                <c:pt idx="4">
                  <c:v>IX 100</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D$2:$D$27</c:f>
              <c:numCache>
                <c:formatCode>General</c:formatCode>
                <c:ptCount val="26"/>
                <c:pt idx="0">
                  <c:v>2304.94</c:v>
                </c:pt>
                <c:pt idx="1">
                  <c:v>1341.59</c:v>
                </c:pt>
                <c:pt idx="3">
                  <c:v>1392.25</c:v>
                </c:pt>
                <c:pt idx="12">
                  <c:v>6200.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50</c:v>
                </c:pt>
                <c:pt idx="1">
                  <c:v>IX 94</c:v>
                </c:pt>
                <c:pt idx="2">
                  <c:v/>
                </c:pt>
                <c:pt idx="3">
                  <c:v/>
                </c:pt>
                <c:pt idx="4">
                  <c:v>IX 100</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E$2:$E$27</c:f>
              <c:numCache>
                <c:formatCode>General</c:formatCode>
                <c:ptCount val="26"/>
                <c:pt idx="2">
                  <c:v>8064.15</c:v>
                </c:pt>
                <c:pt idx="7">
                  <c:v>11313.55</c:v>
                </c:pt>
                <c:pt idx="8">
                  <c:v>11375.34</c:v>
                </c:pt>
                <c:pt idx="9">
                  <c:v>3641.99</c:v>
                </c:pt>
                <c:pt idx="20">
                  <c:v>539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50</c:v>
                </c:pt>
                <c:pt idx="1">
                  <c:v>IX 94</c:v>
                </c:pt>
                <c:pt idx="2">
                  <c:v/>
                </c:pt>
                <c:pt idx="3">
                  <c:v/>
                </c:pt>
                <c:pt idx="4">
                  <c:v>IX 100</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F$2:$F$27</c:f>
              <c:numCache>
                <c:formatCode>General</c:formatCode>
                <c:ptCount val="26"/>
                <c:pt idx="2">
                  <c:v>12548.96</c:v>
                </c:pt>
                <c:pt idx="7">
                  <c:v>14196.87</c:v>
                </c:pt>
                <c:pt idx="8">
                  <c:v>2469.05</c:v>
                </c:pt>
                <c:pt idx="9">
                  <c:v>7565.55</c:v>
                </c:pt>
                <c:pt idx="11">
                  <c:v>3055.81</c:v>
                </c:pt>
                <c:pt idx="16">
                  <c:v>61148.21</c:v>
                </c:pt>
                <c:pt idx="17">
                  <c:v>3020.9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148.7078"/>
          <c:min val="861.57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5</c:v>
                </c:pt>
                <c:pt idx="1">
                  <c:v>IX 92</c:v>
                </c:pt>
                <c:pt idx="2">
                  <c:v/>
                </c:pt>
                <c:pt idx="3">
                  <c:v/>
                </c:pt>
                <c:pt idx="4">
                  <c:v>IX 100</c:v>
                </c:pt>
                <c:pt idx="5">
                  <c:v>IX 100</c:v>
                </c:pt>
                <c:pt idx="6">
                  <c:v>IX 100</c:v>
                </c:pt>
                <c:pt idx="7">
                  <c:v/>
                </c:pt>
                <c:pt idx="8">
                  <c:v/>
                </c:pt>
                <c:pt idx="9">
                  <c:v/>
                </c:pt>
                <c:pt idx="10">
                  <c:v>IX 100</c:v>
                </c:pt>
                <c:pt idx="11">
                  <c:v/>
                </c:pt>
                <c:pt idx="12">
                  <c:v>IX 91</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B$2:$B$27</c:f>
              <c:numCache>
                <c:formatCode>General</c:formatCode>
                <c:ptCount val="26"/>
                <c:pt idx="0">
                  <c:v>1308.64</c:v>
                </c:pt>
                <c:pt idx="1">
                  <c:v>1333.14</c:v>
                </c:pt>
                <c:pt idx="2">
                  <c:v>4196.25</c:v>
                </c:pt>
                <c:pt idx="3">
                  <c:v>1392.42</c:v>
                </c:pt>
                <c:pt idx="4">
                  <c:v>1196.97</c:v>
                </c:pt>
                <c:pt idx="5">
                  <c:v>862.07</c:v>
                </c:pt>
                <c:pt idx="6">
                  <c:v>1373.74</c:v>
                </c:pt>
                <c:pt idx="7">
                  <c:v>13667.19</c:v>
                </c:pt>
                <c:pt idx="8">
                  <c:v>4308.22</c:v>
                </c:pt>
                <c:pt idx="9">
                  <c:v>5583.2</c:v>
                </c:pt>
                <c:pt idx="10">
                  <c:v>1546.69</c:v>
                </c:pt>
                <c:pt idx="11">
                  <c:v>3072.75</c:v>
                </c:pt>
                <c:pt idx="12">
                  <c:v>6183.84</c:v>
                </c:pt>
                <c:pt idx="13">
                  <c:v>5288.91</c:v>
                </c:pt>
                <c:pt idx="14">
                  <c:v>18187.01</c:v>
                </c:pt>
                <c:pt idx="15">
                  <c:v>1571.44</c:v>
                </c:pt>
                <c:pt idx="16">
                  <c:v>61148.21</c:v>
                </c:pt>
                <c:pt idx="17">
                  <c:v>4187.38</c:v>
                </c:pt>
                <c:pt idx="18">
                  <c:v>1636.52</c:v>
                </c:pt>
                <c:pt idx="19">
                  <c:v>2773.41</c:v>
                </c:pt>
                <c:pt idx="20">
                  <c:v>5981.91</c:v>
                </c:pt>
                <c:pt idx="21">
                  <c:v>1048.63</c:v>
                </c:pt>
                <c:pt idx="22">
                  <c:v>2888.57</c:v>
                </c:pt>
                <c:pt idx="23">
                  <c:v>2885.89</c:v>
                </c:pt>
                <c:pt idx="24">
                  <c:v>5085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5</a:t>
                    </a:r>
                  </a:p>
                  <a:p>
                    <a:r>
                      <a:t>1040.15</a:t>
                    </a:r>
                  </a:p>
                </c:rich>
              </c:tx>
              <c:dLblPos val="l"/>
              <c:showLegendKey val="0"/>
              <c:showVal val="1"/>
              <c:showCatName val="0"/>
              <c:showSerName val="0"/>
              <c:showPercent val="0"/>
              <c:showBubbleSize val="0"/>
            </c:dLbl>
            <c:dLbl>
              <c:idx val="1"/>
              <c:tx>
                <c:rich>
                  <a:bodyPr/>
                  <a:lstStyle/>
                  <a:p>
                    <a:r>
                      <a:t>IX 92</a:t>
                    </a:r>
                  </a:p>
                  <a:p>
                    <a:r>
                      <a:t>1240.2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268.64</a:t>
                    </a:r>
                  </a:p>
                </c:rich>
              </c:tx>
              <c:dLblPos val="l"/>
              <c:showLegendKey val="0"/>
              <c:showVal val="1"/>
              <c:showCatName val="0"/>
              <c:showSerName val="0"/>
              <c:showPercent val="0"/>
              <c:showBubbleSize val="0"/>
            </c:dLbl>
            <c:dLbl>
              <c:idx val="5"/>
              <c:tx>
                <c:rich>
                  <a:bodyPr/>
                  <a:lstStyle/>
                  <a:p>
                    <a:r>
                      <a:t>IX 100</a:t>
                    </a:r>
                  </a:p>
                  <a:p>
                    <a:r>
                      <a:t>1075.03</a:t>
                    </a:r>
                  </a:p>
                </c:rich>
              </c:tx>
              <c:dLblPos val="l"/>
              <c:showLegendKey val="0"/>
              <c:showVal val="1"/>
              <c:showCatName val="0"/>
              <c:showSerName val="0"/>
              <c:showPercent val="0"/>
              <c:showBubbleSize val="0"/>
            </c:dLbl>
            <c:dLbl>
              <c:idx val="6"/>
              <c:tx>
                <c:rich>
                  <a:bodyPr/>
                  <a:lstStyle/>
                  <a:p>
                    <a:r>
                      <a:t>IX 100</a:t>
                    </a:r>
                  </a:p>
                  <a:p>
                    <a:r>
                      <a:t>1349.98</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1532.62</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IX 91</a:t>
                    </a:r>
                  </a:p>
                  <a:p>
                    <a:r>
                      <a:t>5633.8</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IX 100</a:t>
                    </a:r>
                  </a:p>
                  <a:p>
                    <a:r>
                      <a:t>1095.58</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IX 100</a:t>
                    </a:r>
                  </a:p>
                  <a:p>
                    <a:r>
                      <a:t>630.99</a:t>
                    </a:r>
                  </a:p>
                </c:rich>
              </c:tx>
              <c:dLblPos val="l"/>
              <c:showLegendKey val="0"/>
              <c:showVal val="1"/>
              <c:showCatName val="0"/>
              <c:showSerName val="0"/>
              <c:showPercent val="0"/>
              <c:showBubbleSize val="0"/>
            </c:dLbl>
            <c:dLbl>
              <c:idx val="22"/>
              <c:tx>
                <c:rich>
                  <a:bodyPr/>
                  <a:lstStyle/>
                  <a:p>
                    <a:r>
                      <a:t>IX 100</a:t>
                    </a:r>
                  </a:p>
                  <a:p>
                    <a:r>
                      <a:t>2888.57</a:t>
                    </a:r>
                  </a:p>
                </c:rich>
              </c:tx>
              <c:dLblPos val="l"/>
              <c:showLegendKey val="0"/>
              <c:showVal val="1"/>
              <c:showCatName val="0"/>
              <c:showSerName val="0"/>
              <c:showPercent val="0"/>
              <c:showBubbleSize val="0"/>
            </c:dLbl>
            <c:dLbl>
              <c:idx val="23"/>
              <c:tx>
                <c:rich>
                  <a:bodyPr/>
                  <a:lstStyle/>
                  <a:p>
                    <a:r>
                      <a:t>IX 100</a:t>
                    </a:r>
                  </a:p>
                  <a:p>
                    <a:r>
                      <a:t>2885.89</a:t>
                    </a:r>
                  </a:p>
                </c:rich>
              </c:tx>
              <c:dLblPos val="l"/>
              <c:showLegendKey val="0"/>
              <c:showVal val="1"/>
              <c:showCatName val="0"/>
              <c:showSerName val="0"/>
              <c:showPercent val="0"/>
              <c:showBubbleSize val="0"/>
            </c:dLbl>
            <c:dLbl>
              <c:idx val="24"/>
              <c:tx>
                <c:rich>
                  <a:bodyPr/>
                  <a:lstStyle/>
                  <a:p>
                    <a:r>
                      <a:t>None</a:t>
                    </a:r>
                  </a:p>
                  <a:p>
                    <a:r>
                      <a:t>None</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5</c:v>
                </c:pt>
                <c:pt idx="1">
                  <c:v>IX 92</c:v>
                </c:pt>
                <c:pt idx="2">
                  <c:v/>
                </c:pt>
                <c:pt idx="3">
                  <c:v/>
                </c:pt>
                <c:pt idx="4">
                  <c:v>IX 100</c:v>
                </c:pt>
                <c:pt idx="5">
                  <c:v>IX 100</c:v>
                </c:pt>
                <c:pt idx="6">
                  <c:v>IX 100</c:v>
                </c:pt>
                <c:pt idx="7">
                  <c:v/>
                </c:pt>
                <c:pt idx="8">
                  <c:v/>
                </c:pt>
                <c:pt idx="9">
                  <c:v/>
                </c:pt>
                <c:pt idx="10">
                  <c:v>IX 100</c:v>
                </c:pt>
                <c:pt idx="11">
                  <c:v/>
                </c:pt>
                <c:pt idx="12">
                  <c:v>IX 91</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C$2:$C$27</c:f>
              <c:numCache>
                <c:formatCode>General</c:formatCode>
                <c:ptCount val="26"/>
                <c:pt idx="0">
                  <c:v>1040.15</c:v>
                </c:pt>
                <c:pt idx="1">
                  <c:v>1240.21</c:v>
                </c:pt>
                <c:pt idx="4">
                  <c:v>1268.64</c:v>
                </c:pt>
                <c:pt idx="5">
                  <c:v>1075.03</c:v>
                </c:pt>
                <c:pt idx="6">
                  <c:v>1349.98</c:v>
                </c:pt>
                <c:pt idx="10">
                  <c:v>1532.62</c:v>
                </c:pt>
                <c:pt idx="12">
                  <c:v>5633.8</c:v>
                </c:pt>
                <c:pt idx="15">
                  <c:v>1095.58</c:v>
                </c:pt>
                <c:pt idx="21">
                  <c:v>630.99</c:v>
                </c:pt>
                <c:pt idx="22">
                  <c:v>2888.57</c:v>
                </c:pt>
                <c:pt idx="23">
                  <c:v>2885.8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5</c:v>
                </c:pt>
                <c:pt idx="1">
                  <c:v>IX 92</c:v>
                </c:pt>
                <c:pt idx="2">
                  <c:v/>
                </c:pt>
                <c:pt idx="3">
                  <c:v/>
                </c:pt>
                <c:pt idx="4">
                  <c:v>IX 100</c:v>
                </c:pt>
                <c:pt idx="5">
                  <c:v>IX 100</c:v>
                </c:pt>
                <c:pt idx="6">
                  <c:v>IX 100</c:v>
                </c:pt>
                <c:pt idx="7">
                  <c:v/>
                </c:pt>
                <c:pt idx="8">
                  <c:v/>
                </c:pt>
                <c:pt idx="9">
                  <c:v/>
                </c:pt>
                <c:pt idx="10">
                  <c:v>IX 100</c:v>
                </c:pt>
                <c:pt idx="11">
                  <c:v/>
                </c:pt>
                <c:pt idx="12">
                  <c:v>IX 91</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D$2:$D$27</c:f>
              <c:numCache>
                <c:formatCode>General</c:formatCode>
                <c:ptCount val="26"/>
                <c:pt idx="0">
                  <c:v>2304.94</c:v>
                </c:pt>
                <c:pt idx="1">
                  <c:v>1341.59</c:v>
                </c:pt>
                <c:pt idx="3">
                  <c:v>1392.25</c:v>
                </c:pt>
                <c:pt idx="12">
                  <c:v>6200.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5</c:v>
                </c:pt>
                <c:pt idx="1">
                  <c:v>IX 92</c:v>
                </c:pt>
                <c:pt idx="2">
                  <c:v/>
                </c:pt>
                <c:pt idx="3">
                  <c:v/>
                </c:pt>
                <c:pt idx="4">
                  <c:v>IX 100</c:v>
                </c:pt>
                <c:pt idx="5">
                  <c:v>IX 100</c:v>
                </c:pt>
                <c:pt idx="6">
                  <c:v>IX 100</c:v>
                </c:pt>
                <c:pt idx="7">
                  <c:v/>
                </c:pt>
                <c:pt idx="8">
                  <c:v/>
                </c:pt>
                <c:pt idx="9">
                  <c:v/>
                </c:pt>
                <c:pt idx="10">
                  <c:v>IX 100</c:v>
                </c:pt>
                <c:pt idx="11">
                  <c:v/>
                </c:pt>
                <c:pt idx="12">
                  <c:v>IX 91</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E$2:$E$27</c:f>
              <c:numCache>
                <c:formatCode>General</c:formatCode>
                <c:ptCount val="26"/>
                <c:pt idx="2">
                  <c:v>12548.96</c:v>
                </c:pt>
                <c:pt idx="7">
                  <c:v>14196.87</c:v>
                </c:pt>
                <c:pt idx="8">
                  <c:v>2469.05</c:v>
                </c:pt>
                <c:pt idx="9">
                  <c:v>7565.55</c:v>
                </c:pt>
                <c:pt idx="11">
                  <c:v>3055.81</c:v>
                </c:pt>
                <c:pt idx="16">
                  <c:v>61148.21</c:v>
                </c:pt>
                <c:pt idx="17">
                  <c:v>3020.9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5</c:v>
                </c:pt>
                <c:pt idx="1">
                  <c:v>IX 92</c:v>
                </c:pt>
                <c:pt idx="2">
                  <c:v/>
                </c:pt>
                <c:pt idx="3">
                  <c:v/>
                </c:pt>
                <c:pt idx="4">
                  <c:v>IX 100</c:v>
                </c:pt>
                <c:pt idx="5">
                  <c:v>IX 100</c:v>
                </c:pt>
                <c:pt idx="6">
                  <c:v>IX 100</c:v>
                </c:pt>
                <c:pt idx="7">
                  <c:v/>
                </c:pt>
                <c:pt idx="8">
                  <c:v/>
                </c:pt>
                <c:pt idx="9">
                  <c:v/>
                </c:pt>
                <c:pt idx="10">
                  <c:v>IX 100</c:v>
                </c:pt>
                <c:pt idx="11">
                  <c:v/>
                </c:pt>
                <c:pt idx="12">
                  <c:v>IX 91</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F$2:$F$27</c:f>
              <c:numCache>
                <c:formatCode>General</c:formatCode>
                <c:ptCount val="26"/>
                <c:pt idx="2">
                  <c:v>8064.15</c:v>
                </c:pt>
                <c:pt idx="7">
                  <c:v>11313.55</c:v>
                </c:pt>
                <c:pt idx="8">
                  <c:v>11375.34</c:v>
                </c:pt>
                <c:pt idx="9">
                  <c:v>3641.99</c:v>
                </c:pt>
                <c:pt idx="20">
                  <c:v>5394.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148.7078"/>
          <c:min val="630.48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B$2:$B$2</c:f>
              <c:numCache>
                <c:formatCode>General</c:formatCode>
                <c:ptCount val="1"/>
                <c:pt idx="0">
                  <c:v>2435.2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9</a:t>
                    </a:r>
                  </a:p>
                  <a:p>
                    <a:r>
                      <a:t>1214.3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C$2:$C$2</c:f>
              <c:numCache>
                <c:formatCode>General</c:formatCode>
                <c:ptCount val="1"/>
                <c:pt idx="0">
                  <c:v>1214.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D$2:$D$2</c:f>
              <c:numCache>
                <c:formatCode>General</c:formatCode>
                <c:ptCount val="1"/>
                <c:pt idx="0">
                  <c:v>1758.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E$2:$E$2</c:f>
              <c:numCache>
                <c:formatCode>General</c:formatCode>
                <c:ptCount val="1"/>
                <c:pt idx="0">
                  <c:v>10539.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F$2:$F$2</c:f>
              <c:numCache>
                <c:formatCode>General</c:formatCode>
                <c:ptCount val="1"/>
                <c:pt idx="0">
                  <c:v>7854.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540.3647"/>
          <c:min val="1213.86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
                </c:pt>
                <c:pt idx="1">
                  <c:v>IX 300</c:v>
                </c:pt>
                <c:pt idx="2">
                  <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B$2:$B$27</c:f>
              <c:numCache>
                <c:formatCode>General</c:formatCode>
                <c:ptCount val="26"/>
                <c:pt idx="0">
                  <c:v>1308.64</c:v>
                </c:pt>
                <c:pt idx="1">
                  <c:v>1333.14</c:v>
                </c:pt>
                <c:pt idx="2">
                  <c:v>4196.25</c:v>
                </c:pt>
                <c:pt idx="3">
                  <c:v>1392.42</c:v>
                </c:pt>
                <c:pt idx="4">
                  <c:v>1196.97</c:v>
                </c:pt>
                <c:pt idx="5">
                  <c:v>862.07</c:v>
                </c:pt>
                <c:pt idx="6">
                  <c:v>1373.74</c:v>
                </c:pt>
                <c:pt idx="7">
                  <c:v>13667.19</c:v>
                </c:pt>
                <c:pt idx="8">
                  <c:v>4308.22</c:v>
                </c:pt>
                <c:pt idx="9">
                  <c:v>5583.2</c:v>
                </c:pt>
                <c:pt idx="10">
                  <c:v>1546.69</c:v>
                </c:pt>
                <c:pt idx="11">
                  <c:v>3072.75</c:v>
                </c:pt>
                <c:pt idx="12">
                  <c:v>6183.84</c:v>
                </c:pt>
                <c:pt idx="13">
                  <c:v>5288.91</c:v>
                </c:pt>
                <c:pt idx="14">
                  <c:v>18187.01</c:v>
                </c:pt>
                <c:pt idx="15">
                  <c:v>1571.44</c:v>
                </c:pt>
                <c:pt idx="16">
                  <c:v>61148.21</c:v>
                </c:pt>
                <c:pt idx="17">
                  <c:v>4187.38</c:v>
                </c:pt>
                <c:pt idx="18">
                  <c:v>1636.52</c:v>
                </c:pt>
                <c:pt idx="19">
                  <c:v>2773.41</c:v>
                </c:pt>
                <c:pt idx="20">
                  <c:v>5981.91</c:v>
                </c:pt>
                <c:pt idx="21">
                  <c:v>1048.63</c:v>
                </c:pt>
                <c:pt idx="22">
                  <c:v>2888.57</c:v>
                </c:pt>
                <c:pt idx="23">
                  <c:v>2885.89</c:v>
                </c:pt>
                <c:pt idx="24">
                  <c:v>50855.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00</a:t>
                    </a:r>
                  </a:p>
                  <a:p>
                    <a:r>
                      <a:t>4025.5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None</a:t>
                    </a:r>
                  </a:p>
                  <a:p>
                    <a:r>
                      <a:t>None</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dLbl>
              <c:idx val="24"/>
              <c:tx>
                <c:rich>
                  <a:bodyPr/>
                  <a:lstStyle/>
                  <a:p>
                    <a:r>
                      <a:t>None</a:t>
                    </a:r>
                  </a:p>
                  <a:p>
                    <a:r>
                      <a:t>None</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
                </c:pt>
                <c:pt idx="1">
                  <c:v>IX 300</c:v>
                </c:pt>
                <c:pt idx="2">
                  <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C$2:$C$27</c:f>
              <c:numCache>
                <c:formatCode>General</c:formatCode>
                <c:ptCount val="26"/>
                <c:pt idx="1">
                  <c:v>4025.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
                </c:pt>
                <c:pt idx="1">
                  <c:v>IX 300</c:v>
                </c:pt>
                <c:pt idx="2">
                  <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D$2:$D$27</c:f>
              <c:numCache>
                <c:formatCode>General</c:formatCode>
                <c:ptCount val="26"/>
                <c:pt idx="0">
                  <c:v>2304.94</c:v>
                </c:pt>
                <c:pt idx="1">
                  <c:v>1341.59</c:v>
                </c:pt>
                <c:pt idx="3">
                  <c:v>1392.25</c:v>
                </c:pt>
                <c:pt idx="12">
                  <c:v>6200.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
                </c:pt>
                <c:pt idx="1">
                  <c:v>IX 300</c:v>
                </c:pt>
                <c:pt idx="2">
                  <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E$2:$E$27</c:f>
              <c:numCache>
                <c:formatCode>General</c:formatCode>
                <c:ptCount val="26"/>
                <c:pt idx="2">
                  <c:v>12548.96</c:v>
                </c:pt>
                <c:pt idx="7">
                  <c:v>14196.87</c:v>
                </c:pt>
                <c:pt idx="8">
                  <c:v>2469.05</c:v>
                </c:pt>
                <c:pt idx="9">
                  <c:v>7565.55</c:v>
                </c:pt>
                <c:pt idx="11">
                  <c:v>3055.81</c:v>
                </c:pt>
                <c:pt idx="16">
                  <c:v>61148.21</c:v>
                </c:pt>
                <c:pt idx="17">
                  <c:v>3020.9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
                </c:pt>
                <c:pt idx="1">
                  <c:v>IX 300</c:v>
                </c:pt>
                <c:pt idx="2">
                  <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F$2:$F$27</c:f>
              <c:numCache>
                <c:formatCode>General</c:formatCode>
                <c:ptCount val="26"/>
                <c:pt idx="2">
                  <c:v>8064.15</c:v>
                </c:pt>
                <c:pt idx="7">
                  <c:v>11313.55</c:v>
                </c:pt>
                <c:pt idx="8">
                  <c:v>11375.34</c:v>
                </c:pt>
                <c:pt idx="9">
                  <c:v>3641.99</c:v>
                </c:pt>
                <c:pt idx="20">
                  <c:v>5394.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148.7078"/>
          <c:min val="861.57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3</c:v>
                </c:pt>
                <c:pt idx="2">
                  <c:v>IX 96</c:v>
                </c:pt>
                <c:pt idx="3">
                  <c:v/>
                </c:pt>
                <c:pt idx="4">
                  <c:v/>
                </c:pt>
                <c:pt idx="5">
                  <c:v/>
                </c:pt>
                <c:pt idx="6">
                  <c:v/>
                </c:pt>
                <c:pt idx="7">
                  <c:v>IX 100</c:v>
                </c:pt>
                <c:pt idx="8">
                  <c:v>IX 100</c:v>
                </c:pt>
                <c:pt idx="9">
                  <c:v>IX 100</c:v>
                </c:pt>
                <c:pt idx="10">
                  <c:v/>
                </c:pt>
                <c:pt idx="11">
                  <c:v/>
                </c:pt>
                <c:pt idx="12">
                  <c:v/>
                </c:pt>
                <c:pt idx="13">
                  <c:v>IX 100</c:v>
                </c:pt>
                <c:pt idx="14">
                  <c:v/>
                </c:pt>
                <c:pt idx="15">
                  <c:v>IX 76</c:v>
                </c:pt>
                <c:pt idx="16">
                  <c:v/>
                </c:pt>
                <c:pt idx="17">
                  <c:v/>
                </c:pt>
                <c:pt idx="18">
                  <c:v/>
                </c:pt>
                <c:pt idx="19">
                  <c:v/>
                </c:pt>
                <c:pt idx="20">
                  <c:v>IX 100</c:v>
                </c:pt>
                <c:pt idx="21">
                  <c:v>IX 100</c:v>
                </c:pt>
                <c:pt idx="22">
                  <c:v>IX 100</c:v>
                </c:pt>
                <c:pt idx="23">
                  <c:v>IX 100</c:v>
                </c:pt>
                <c:pt idx="24">
                  <c:v>IX 100</c:v>
                </c:pt>
                <c:pt idx="25">
                  <c:v/>
                </c:pt>
                <c:pt idx="26">
                  <c:v/>
                </c:pt>
                <c:pt idx="27">
                  <c:v>IX 100</c:v>
                </c:pt>
                <c:pt idx="28">
                  <c:v/>
                </c:pt>
              </c:strCache>
            </c:strRef>
          </c:cat>
          <c:val>
            <c:numRef>
              <c:f>Sheet1!$B$2:$B$30</c:f>
              <c:numCache>
                <c:formatCode>General</c:formatCode>
                <c:ptCount val="29"/>
                <c:pt idx="0">
                  <c:v>6377.3</c:v>
                </c:pt>
                <c:pt idx="1">
                  <c:v>1491.91</c:v>
                </c:pt>
                <c:pt idx="2">
                  <c:v>1538.7</c:v>
                </c:pt>
                <c:pt idx="3">
                  <c:v>13287.08</c:v>
                </c:pt>
                <c:pt idx="4">
                  <c:v>5246.68</c:v>
                </c:pt>
                <c:pt idx="5">
                  <c:v>1636.75</c:v>
                </c:pt>
                <c:pt idx="6">
                  <c:v>5283.36</c:v>
                </c:pt>
                <c:pt idx="7">
                  <c:v>1336.83</c:v>
                </c:pt>
                <c:pt idx="8">
                  <c:v>984.98</c:v>
                </c:pt>
                <c:pt idx="9">
                  <c:v>1605.12</c:v>
                </c:pt>
                <c:pt idx="10">
                  <c:v>3984.43</c:v>
                </c:pt>
                <c:pt idx="11">
                  <c:v>9735.82</c:v>
                </c:pt>
                <c:pt idx="12">
                  <c:v>49967.45</c:v>
                </c:pt>
                <c:pt idx="13">
                  <c:v>1692.29</c:v>
                </c:pt>
                <c:pt idx="14">
                  <c:v>2940.19</c:v>
                </c:pt>
                <c:pt idx="15">
                  <c:v>7675.79</c:v>
                </c:pt>
                <c:pt idx="16">
                  <c:v>3578.71</c:v>
                </c:pt>
                <c:pt idx="17">
                  <c:v>6770.53</c:v>
                </c:pt>
                <c:pt idx="18">
                  <c:v>22286.91</c:v>
                </c:pt>
                <c:pt idx="19">
                  <c:v>16724.28</c:v>
                </c:pt>
                <c:pt idx="20">
                  <c:v>1579.88</c:v>
                </c:pt>
                <c:pt idx="21">
                  <c:v>1819.28</c:v>
                </c:pt>
                <c:pt idx="22">
                  <c:v>1349.76</c:v>
                </c:pt>
                <c:pt idx="23">
                  <c:v>2842.84</c:v>
                </c:pt>
                <c:pt idx="24">
                  <c:v>2802.06</c:v>
                </c:pt>
                <c:pt idx="25">
                  <c:v>16539.33</c:v>
                </c:pt>
                <c:pt idx="26">
                  <c:v>14969.5</c:v>
                </c:pt>
                <c:pt idx="27">
                  <c:v>141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3</a:t>
                    </a:r>
                  </a:p>
                  <a:p>
                    <a:r>
                      <a:t>1219.15</a:t>
                    </a:r>
                  </a:p>
                </c:rich>
              </c:tx>
              <c:dLblPos val="l"/>
              <c:showLegendKey val="0"/>
              <c:showVal val="1"/>
              <c:showCatName val="0"/>
              <c:showSerName val="0"/>
              <c:showPercent val="0"/>
              <c:showBubbleSize val="0"/>
            </c:dLbl>
            <c:dLbl>
              <c:idx val="2"/>
              <c:tx>
                <c:rich>
                  <a:bodyPr/>
                  <a:lstStyle/>
                  <a:p>
                    <a:r>
                      <a:t>IX 96</a:t>
                    </a:r>
                  </a:p>
                  <a:p>
                    <a:r>
                      <a:t>1447.2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IX 100</a:t>
                    </a:r>
                  </a:p>
                  <a:p>
                    <a:r>
                      <a:t>1337.18</a:t>
                    </a:r>
                  </a:p>
                </c:rich>
              </c:tx>
              <c:dLblPos val="l"/>
              <c:showLegendKey val="0"/>
              <c:showVal val="1"/>
              <c:showCatName val="0"/>
              <c:showSerName val="0"/>
              <c:showPercent val="0"/>
              <c:showBubbleSize val="0"/>
            </c:dLbl>
            <c:dLbl>
              <c:idx val="8"/>
              <c:tx>
                <c:rich>
                  <a:bodyPr/>
                  <a:lstStyle/>
                  <a:p>
                    <a:r>
                      <a:t>IX 100</a:t>
                    </a:r>
                  </a:p>
                  <a:p>
                    <a:r>
                      <a:t>1217.12</a:t>
                    </a:r>
                  </a:p>
                </c:rich>
              </c:tx>
              <c:dLblPos val="l"/>
              <c:showLegendKey val="0"/>
              <c:showVal val="1"/>
              <c:showCatName val="0"/>
              <c:showSerName val="0"/>
              <c:showPercent val="0"/>
              <c:showBubbleSize val="0"/>
            </c:dLbl>
            <c:dLbl>
              <c:idx val="9"/>
              <c:tx>
                <c:rich>
                  <a:bodyPr/>
                  <a:lstStyle/>
                  <a:p>
                    <a:r>
                      <a:t>IX 100</a:t>
                    </a:r>
                  </a:p>
                  <a:p>
                    <a:r>
                      <a:t>1556.25</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IX 100</a:t>
                    </a:r>
                  </a:p>
                  <a:p>
                    <a:r>
                      <a:t>1716.02</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IX 76</a:t>
                    </a:r>
                  </a:p>
                  <a:p>
                    <a:r>
                      <a:t>5859.0</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IX 100</a:t>
                    </a:r>
                  </a:p>
                  <a:p>
                    <a:r>
                      <a:t>1264.23</a:t>
                    </a:r>
                  </a:p>
                </c:rich>
              </c:tx>
              <c:dLblPos val="l"/>
              <c:showLegendKey val="0"/>
              <c:showVal val="1"/>
              <c:showCatName val="0"/>
              <c:showSerName val="0"/>
              <c:showPercent val="0"/>
              <c:showBubbleSize val="0"/>
            </c:dLbl>
            <c:dLbl>
              <c:idx val="21"/>
              <c:tx>
                <c:rich>
                  <a:bodyPr/>
                  <a:lstStyle/>
                  <a:p>
                    <a:r>
                      <a:t>IX 100</a:t>
                    </a:r>
                  </a:p>
                  <a:p>
                    <a:r>
                      <a:t>11079.5</a:t>
                    </a:r>
                  </a:p>
                </c:rich>
              </c:tx>
              <c:dLblPos val="l"/>
              <c:showLegendKey val="0"/>
              <c:showVal val="1"/>
              <c:showCatName val="0"/>
              <c:showSerName val="0"/>
              <c:showPercent val="0"/>
              <c:showBubbleSize val="0"/>
            </c:dLbl>
            <c:dLbl>
              <c:idx val="22"/>
              <c:tx>
                <c:rich>
                  <a:bodyPr/>
                  <a:lstStyle/>
                  <a:p>
                    <a:r>
                      <a:t>IX 100</a:t>
                    </a:r>
                  </a:p>
                  <a:p>
                    <a:r>
                      <a:t>1149.49</a:t>
                    </a:r>
                  </a:p>
                </c:rich>
              </c:tx>
              <c:dLblPos val="l"/>
              <c:showLegendKey val="0"/>
              <c:showVal val="1"/>
              <c:showCatName val="0"/>
              <c:showSerName val="0"/>
              <c:showPercent val="0"/>
              <c:showBubbleSize val="0"/>
            </c:dLbl>
            <c:dLbl>
              <c:idx val="23"/>
              <c:tx>
                <c:rich>
                  <a:bodyPr/>
                  <a:lstStyle/>
                  <a:p>
                    <a:r>
                      <a:t>IX 100</a:t>
                    </a:r>
                  </a:p>
                  <a:p>
                    <a:r>
                      <a:t>2842.84</a:t>
                    </a:r>
                  </a:p>
                </c:rich>
              </c:tx>
              <c:dLblPos val="l"/>
              <c:showLegendKey val="0"/>
              <c:showVal val="1"/>
              <c:showCatName val="0"/>
              <c:showSerName val="0"/>
              <c:showPercent val="0"/>
              <c:showBubbleSize val="0"/>
            </c:dLbl>
            <c:dLbl>
              <c:idx val="24"/>
              <c:tx>
                <c:rich>
                  <a:bodyPr/>
                  <a:lstStyle/>
                  <a:p>
                    <a:r>
                      <a:t>IX 100</a:t>
                    </a:r>
                  </a:p>
                  <a:p>
                    <a:r>
                      <a:t>2802.06</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dLbl>
              <c:idx val="26"/>
              <c:tx>
                <c:rich>
                  <a:bodyPr/>
                  <a:lstStyle/>
                  <a:p>
                    <a:r>
                      <a:t>None</a:t>
                    </a:r>
                  </a:p>
                  <a:p>
                    <a:r>
                      <a:t>None</a:t>
                    </a:r>
                  </a:p>
                </c:rich>
              </c:tx>
              <c:dLblPos val="l"/>
              <c:showLegendKey val="0"/>
              <c:showVal val="1"/>
              <c:showCatName val="0"/>
              <c:showSerName val="0"/>
              <c:showPercent val="0"/>
              <c:showBubbleSize val="0"/>
            </c:dLbl>
            <c:dLbl>
              <c:idx val="27"/>
              <c:tx>
                <c:rich>
                  <a:bodyPr/>
                  <a:lstStyle/>
                  <a:p>
                    <a:r>
                      <a:t>IX 100</a:t>
                    </a:r>
                  </a:p>
                  <a:p>
                    <a:r>
                      <a:t>1415.5</a:t>
                    </a:r>
                  </a:p>
                </c:rich>
              </c:tx>
              <c:dLblPos val="l"/>
              <c:showLegendKey val="0"/>
              <c:showVal val="1"/>
              <c:showCatName val="0"/>
              <c:showSerName val="0"/>
              <c:showPercent val="0"/>
              <c:showBubbleSize val="0"/>
            </c:dLbl>
            <c:dLbl>
              <c:idx val="28"/>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3</c:v>
                </c:pt>
                <c:pt idx="2">
                  <c:v>IX 96</c:v>
                </c:pt>
                <c:pt idx="3">
                  <c:v/>
                </c:pt>
                <c:pt idx="4">
                  <c:v/>
                </c:pt>
                <c:pt idx="5">
                  <c:v/>
                </c:pt>
                <c:pt idx="6">
                  <c:v/>
                </c:pt>
                <c:pt idx="7">
                  <c:v>IX 100</c:v>
                </c:pt>
                <c:pt idx="8">
                  <c:v>IX 100</c:v>
                </c:pt>
                <c:pt idx="9">
                  <c:v>IX 100</c:v>
                </c:pt>
                <c:pt idx="10">
                  <c:v/>
                </c:pt>
                <c:pt idx="11">
                  <c:v/>
                </c:pt>
                <c:pt idx="12">
                  <c:v/>
                </c:pt>
                <c:pt idx="13">
                  <c:v>IX 100</c:v>
                </c:pt>
                <c:pt idx="14">
                  <c:v/>
                </c:pt>
                <c:pt idx="15">
                  <c:v>IX 76</c:v>
                </c:pt>
                <c:pt idx="16">
                  <c:v/>
                </c:pt>
                <c:pt idx="17">
                  <c:v/>
                </c:pt>
                <c:pt idx="18">
                  <c:v/>
                </c:pt>
                <c:pt idx="19">
                  <c:v/>
                </c:pt>
                <c:pt idx="20">
                  <c:v>IX 100</c:v>
                </c:pt>
                <c:pt idx="21">
                  <c:v>IX 100</c:v>
                </c:pt>
                <c:pt idx="22">
                  <c:v>IX 100</c:v>
                </c:pt>
                <c:pt idx="23">
                  <c:v>IX 100</c:v>
                </c:pt>
                <c:pt idx="24">
                  <c:v>IX 100</c:v>
                </c:pt>
                <c:pt idx="25">
                  <c:v/>
                </c:pt>
                <c:pt idx="26">
                  <c:v/>
                </c:pt>
                <c:pt idx="27">
                  <c:v>IX 100</c:v>
                </c:pt>
                <c:pt idx="28">
                  <c:v/>
                </c:pt>
              </c:strCache>
            </c:strRef>
          </c:cat>
          <c:val>
            <c:numRef>
              <c:f>Sheet1!$C$2:$C$30</c:f>
              <c:numCache>
                <c:formatCode>General</c:formatCode>
                <c:ptCount val="29"/>
                <c:pt idx="1">
                  <c:v>1219.15</c:v>
                </c:pt>
                <c:pt idx="2">
                  <c:v>1447.23</c:v>
                </c:pt>
                <c:pt idx="7">
                  <c:v>1337.18</c:v>
                </c:pt>
                <c:pt idx="8">
                  <c:v>1217.12</c:v>
                </c:pt>
                <c:pt idx="9">
                  <c:v>1556.25</c:v>
                </c:pt>
                <c:pt idx="13">
                  <c:v>1716.02</c:v>
                </c:pt>
                <c:pt idx="15">
                  <c:v>5859.0</c:v>
                </c:pt>
                <c:pt idx="20">
                  <c:v>1264.23</c:v>
                </c:pt>
                <c:pt idx="21">
                  <c:v>11079.5</c:v>
                </c:pt>
                <c:pt idx="22">
                  <c:v>1149.49</c:v>
                </c:pt>
                <c:pt idx="23">
                  <c:v>2842.84</c:v>
                </c:pt>
                <c:pt idx="24">
                  <c:v>2802.06</c:v>
                </c:pt>
                <c:pt idx="27">
                  <c:v>141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3</c:v>
                </c:pt>
                <c:pt idx="2">
                  <c:v>IX 96</c:v>
                </c:pt>
                <c:pt idx="3">
                  <c:v/>
                </c:pt>
                <c:pt idx="4">
                  <c:v/>
                </c:pt>
                <c:pt idx="5">
                  <c:v/>
                </c:pt>
                <c:pt idx="6">
                  <c:v/>
                </c:pt>
                <c:pt idx="7">
                  <c:v>IX 100</c:v>
                </c:pt>
                <c:pt idx="8">
                  <c:v>IX 100</c:v>
                </c:pt>
                <c:pt idx="9">
                  <c:v>IX 100</c:v>
                </c:pt>
                <c:pt idx="10">
                  <c:v/>
                </c:pt>
                <c:pt idx="11">
                  <c:v/>
                </c:pt>
                <c:pt idx="12">
                  <c:v/>
                </c:pt>
                <c:pt idx="13">
                  <c:v>IX 100</c:v>
                </c:pt>
                <c:pt idx="14">
                  <c:v/>
                </c:pt>
                <c:pt idx="15">
                  <c:v>IX 76</c:v>
                </c:pt>
                <c:pt idx="16">
                  <c:v/>
                </c:pt>
                <c:pt idx="17">
                  <c:v/>
                </c:pt>
                <c:pt idx="18">
                  <c:v/>
                </c:pt>
                <c:pt idx="19">
                  <c:v/>
                </c:pt>
                <c:pt idx="20">
                  <c:v>IX 100</c:v>
                </c:pt>
                <c:pt idx="21">
                  <c:v>IX 100</c:v>
                </c:pt>
                <c:pt idx="22">
                  <c:v>IX 100</c:v>
                </c:pt>
                <c:pt idx="23">
                  <c:v>IX 100</c:v>
                </c:pt>
                <c:pt idx="24">
                  <c:v>IX 100</c:v>
                </c:pt>
                <c:pt idx="25">
                  <c:v/>
                </c:pt>
                <c:pt idx="26">
                  <c:v/>
                </c:pt>
                <c:pt idx="27">
                  <c:v>IX 100</c:v>
                </c:pt>
                <c:pt idx="28">
                  <c:v/>
                </c:pt>
              </c:strCache>
            </c:strRef>
          </c:cat>
          <c:val>
            <c:numRef>
              <c:f>Sheet1!$D$2:$D$30</c:f>
              <c:numCache>
                <c:formatCode>General</c:formatCode>
                <c:ptCount val="29"/>
                <c:pt idx="0">
                  <c:v>12566.54</c:v>
                </c:pt>
                <c:pt idx="3">
                  <c:v>13278.62</c:v>
                </c:pt>
                <c:pt idx="4">
                  <c:v>2595.38</c:v>
                </c:pt>
                <c:pt idx="6">
                  <c:v>7590.45</c:v>
                </c:pt>
                <c:pt idx="10">
                  <c:v>3216.7</c:v>
                </c:pt>
                <c:pt idx="12">
                  <c:v>49849.84</c:v>
                </c:pt>
                <c:pt idx="16">
                  <c:v>2720.0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3</c:v>
                </c:pt>
                <c:pt idx="2">
                  <c:v>IX 96</c:v>
                </c:pt>
                <c:pt idx="3">
                  <c:v/>
                </c:pt>
                <c:pt idx="4">
                  <c:v/>
                </c:pt>
                <c:pt idx="5">
                  <c:v/>
                </c:pt>
                <c:pt idx="6">
                  <c:v/>
                </c:pt>
                <c:pt idx="7">
                  <c:v>IX 100</c:v>
                </c:pt>
                <c:pt idx="8">
                  <c:v>IX 100</c:v>
                </c:pt>
                <c:pt idx="9">
                  <c:v>IX 100</c:v>
                </c:pt>
                <c:pt idx="10">
                  <c:v/>
                </c:pt>
                <c:pt idx="11">
                  <c:v/>
                </c:pt>
                <c:pt idx="12">
                  <c:v/>
                </c:pt>
                <c:pt idx="13">
                  <c:v>IX 100</c:v>
                </c:pt>
                <c:pt idx="14">
                  <c:v/>
                </c:pt>
                <c:pt idx="15">
                  <c:v>IX 76</c:v>
                </c:pt>
                <c:pt idx="16">
                  <c:v/>
                </c:pt>
                <c:pt idx="17">
                  <c:v/>
                </c:pt>
                <c:pt idx="18">
                  <c:v/>
                </c:pt>
                <c:pt idx="19">
                  <c:v/>
                </c:pt>
                <c:pt idx="20">
                  <c:v>IX 100</c:v>
                </c:pt>
                <c:pt idx="21">
                  <c:v>IX 100</c:v>
                </c:pt>
                <c:pt idx="22">
                  <c:v>IX 100</c:v>
                </c:pt>
                <c:pt idx="23">
                  <c:v>IX 100</c:v>
                </c:pt>
                <c:pt idx="24">
                  <c:v>IX 100</c:v>
                </c:pt>
                <c:pt idx="25">
                  <c:v/>
                </c:pt>
                <c:pt idx="26">
                  <c:v/>
                </c:pt>
                <c:pt idx="27">
                  <c:v>IX 100</c:v>
                </c:pt>
                <c:pt idx="28">
                  <c:v/>
                </c:pt>
              </c:strCache>
            </c:strRef>
          </c:cat>
          <c:val>
            <c:numRef>
              <c:f>Sheet1!$E$2:$E$30</c:f>
              <c:numCache>
                <c:formatCode>General</c:formatCode>
                <c:ptCount val="29"/>
                <c:pt idx="0">
                  <c:v>8558.27</c:v>
                </c:pt>
                <c:pt idx="1">
                  <c:v>5564.3</c:v>
                </c:pt>
                <c:pt idx="3">
                  <c:v>12500.88</c:v>
                </c:pt>
                <c:pt idx="4">
                  <c:v>11614.13</c:v>
                </c:pt>
                <c:pt idx="6">
                  <c:v>6675.04</c:v>
                </c:pt>
                <c:pt idx="10">
                  <c:v>6624.74</c:v>
                </c:pt>
                <c:pt idx="14">
                  <c:v>4924.78</c:v>
                </c:pt>
                <c:pt idx="16">
                  <c:v>4355.41</c:v>
                </c:pt>
                <c:pt idx="17">
                  <c:v>6499.4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iersdorf</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3</c:v>
                </c:pt>
                <c:pt idx="2">
                  <c:v>IX 96</c:v>
                </c:pt>
                <c:pt idx="3">
                  <c:v/>
                </c:pt>
                <c:pt idx="4">
                  <c:v/>
                </c:pt>
                <c:pt idx="5">
                  <c:v/>
                </c:pt>
                <c:pt idx="6">
                  <c:v/>
                </c:pt>
                <c:pt idx="7">
                  <c:v>IX 100</c:v>
                </c:pt>
                <c:pt idx="8">
                  <c:v>IX 100</c:v>
                </c:pt>
                <c:pt idx="9">
                  <c:v>IX 100</c:v>
                </c:pt>
                <c:pt idx="10">
                  <c:v/>
                </c:pt>
                <c:pt idx="11">
                  <c:v/>
                </c:pt>
                <c:pt idx="12">
                  <c:v/>
                </c:pt>
                <c:pt idx="13">
                  <c:v>IX 100</c:v>
                </c:pt>
                <c:pt idx="14">
                  <c:v/>
                </c:pt>
                <c:pt idx="15">
                  <c:v>IX 76</c:v>
                </c:pt>
                <c:pt idx="16">
                  <c:v/>
                </c:pt>
                <c:pt idx="17">
                  <c:v/>
                </c:pt>
                <c:pt idx="18">
                  <c:v/>
                </c:pt>
                <c:pt idx="19">
                  <c:v/>
                </c:pt>
                <c:pt idx="20">
                  <c:v>IX 100</c:v>
                </c:pt>
                <c:pt idx="21">
                  <c:v>IX 100</c:v>
                </c:pt>
                <c:pt idx="22">
                  <c:v>IX 100</c:v>
                </c:pt>
                <c:pt idx="23">
                  <c:v>IX 100</c:v>
                </c:pt>
                <c:pt idx="24">
                  <c:v>IX 100</c:v>
                </c:pt>
                <c:pt idx="25">
                  <c:v/>
                </c:pt>
                <c:pt idx="26">
                  <c:v/>
                </c:pt>
                <c:pt idx="27">
                  <c:v>IX 100</c:v>
                </c:pt>
                <c:pt idx="28">
                  <c:v/>
                </c:pt>
              </c:strCache>
            </c:strRef>
          </c:cat>
          <c:val>
            <c:numRef>
              <c:f>Sheet1!$F$2:$F$30</c:f>
              <c:numCache>
                <c:formatCode>General</c:formatCode>
                <c:ptCount val="29"/>
                <c:pt idx="0">
                  <c:v>8351.07</c:v>
                </c:pt>
                <c:pt idx="1">
                  <c:v>2851.92</c:v>
                </c:pt>
                <c:pt idx="2">
                  <c:v>1513.62</c:v>
                </c:pt>
                <c:pt idx="3">
                  <c:v>12253.73</c:v>
                </c:pt>
                <c:pt idx="4">
                  <c:v>12780.99</c:v>
                </c:pt>
                <c:pt idx="5">
                  <c:v>1632.04</c:v>
                </c:pt>
                <c:pt idx="6">
                  <c:v>4118.4</c:v>
                </c:pt>
                <c:pt idx="11">
                  <c:v>8838.31</c:v>
                </c:pt>
                <c:pt idx="13">
                  <c:v>656.93</c:v>
                </c:pt>
                <c:pt idx="15">
                  <c:v>7754.5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967.951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4</c:v>
                </c:pt>
                <c:pt idx="2">
                  <c:v>IX 96</c:v>
                </c:pt>
                <c:pt idx="3">
                  <c:v/>
                </c:pt>
                <c:pt idx="4">
                  <c:v/>
                </c:pt>
                <c:pt idx="5">
                  <c:v/>
                </c:pt>
                <c:pt idx="6">
                  <c:v/>
                </c:pt>
                <c:pt idx="7">
                  <c:v>IX 100</c:v>
                </c:pt>
                <c:pt idx="8">
                  <c:v>IX 100</c:v>
                </c:pt>
                <c:pt idx="9">
                  <c:v>IX 100</c:v>
                </c:pt>
                <c:pt idx="10">
                  <c:v/>
                </c:pt>
                <c:pt idx="11">
                  <c:v/>
                </c:pt>
                <c:pt idx="12">
                  <c:v/>
                </c:pt>
                <c:pt idx="13">
                  <c:v>IX 100</c:v>
                </c:pt>
                <c:pt idx="14">
                  <c:v/>
                </c:pt>
                <c:pt idx="15">
                  <c:v>IX 79</c:v>
                </c:pt>
                <c:pt idx="16">
                  <c:v/>
                </c:pt>
                <c:pt idx="17">
                  <c:v/>
                </c:pt>
                <c:pt idx="18">
                  <c:v/>
                </c:pt>
                <c:pt idx="19">
                  <c:v/>
                </c:pt>
                <c:pt idx="20">
                  <c:v>IX 100</c:v>
                </c:pt>
                <c:pt idx="21">
                  <c:v>IX 100</c:v>
                </c:pt>
                <c:pt idx="22">
                  <c:v>IX 100</c:v>
                </c:pt>
                <c:pt idx="23">
                  <c:v>IX 100</c:v>
                </c:pt>
                <c:pt idx="24">
                  <c:v>IX 100</c:v>
                </c:pt>
                <c:pt idx="25">
                  <c:v/>
                </c:pt>
                <c:pt idx="26">
                  <c:v/>
                </c:pt>
              </c:strCache>
            </c:strRef>
          </c:cat>
          <c:val>
            <c:numRef>
              <c:f>Sheet1!$B$2:$B$28</c:f>
              <c:numCache>
                <c:formatCode>General</c:formatCode>
                <c:ptCount val="27"/>
                <c:pt idx="0">
                  <c:v>6792.92</c:v>
                </c:pt>
                <c:pt idx="1">
                  <c:v>1539.12</c:v>
                </c:pt>
                <c:pt idx="2">
                  <c:v>1572.19</c:v>
                </c:pt>
                <c:pt idx="3">
                  <c:v>13369.84</c:v>
                </c:pt>
                <c:pt idx="4">
                  <c:v>5228.36</c:v>
                </c:pt>
                <c:pt idx="5">
                  <c:v>1650.93</c:v>
                </c:pt>
                <c:pt idx="6">
                  <c:v>5302.03</c:v>
                </c:pt>
                <c:pt idx="7">
                  <c:v>1370.18</c:v>
                </c:pt>
                <c:pt idx="8">
                  <c:v>1009.21</c:v>
                </c:pt>
                <c:pt idx="9">
                  <c:v>1658.85</c:v>
                </c:pt>
                <c:pt idx="10">
                  <c:v>4049.57</c:v>
                </c:pt>
                <c:pt idx="11">
                  <c:v>9804.89</c:v>
                </c:pt>
                <c:pt idx="12">
                  <c:v>51703.25</c:v>
                </c:pt>
                <c:pt idx="13">
                  <c:v>1748.48</c:v>
                </c:pt>
                <c:pt idx="14">
                  <c:v>2944.52</c:v>
                </c:pt>
                <c:pt idx="15">
                  <c:v>7847.98</c:v>
                </c:pt>
                <c:pt idx="16">
                  <c:v>3539.72</c:v>
                </c:pt>
                <c:pt idx="17">
                  <c:v>6971.58</c:v>
                </c:pt>
                <c:pt idx="18">
                  <c:v>22411.7</c:v>
                </c:pt>
                <c:pt idx="19">
                  <c:v>22363.71</c:v>
                </c:pt>
                <c:pt idx="20">
                  <c:v>1764.95</c:v>
                </c:pt>
                <c:pt idx="21">
                  <c:v>1800.26</c:v>
                </c:pt>
                <c:pt idx="22">
                  <c:v>1556.64</c:v>
                </c:pt>
                <c:pt idx="23">
                  <c:v>2923.82</c:v>
                </c:pt>
                <c:pt idx="24">
                  <c:v>2886.9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4</a:t>
                    </a:r>
                  </a:p>
                  <a:p>
                    <a:r>
                      <a:t>1248.7</a:t>
                    </a:r>
                  </a:p>
                </c:rich>
              </c:tx>
              <c:dLblPos val="l"/>
              <c:showLegendKey val="0"/>
              <c:showVal val="1"/>
              <c:showCatName val="0"/>
              <c:showSerName val="0"/>
              <c:showPercent val="0"/>
              <c:showBubbleSize val="0"/>
            </c:dLbl>
            <c:dLbl>
              <c:idx val="2"/>
              <c:tx>
                <c:rich>
                  <a:bodyPr/>
                  <a:lstStyle/>
                  <a:p>
                    <a:r>
                      <a:t>IX 96</a:t>
                    </a:r>
                  </a:p>
                  <a:p>
                    <a:r>
                      <a:t>1484.1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IX 100</a:t>
                    </a:r>
                  </a:p>
                  <a:p>
                    <a:r>
                      <a:t>1370.57</a:t>
                    </a:r>
                  </a:p>
                </c:rich>
              </c:tx>
              <c:dLblPos val="l"/>
              <c:showLegendKey val="0"/>
              <c:showVal val="1"/>
              <c:showCatName val="0"/>
              <c:showSerName val="0"/>
              <c:showPercent val="0"/>
              <c:showBubbleSize val="0"/>
            </c:dLbl>
            <c:dLbl>
              <c:idx val="8"/>
              <c:tx>
                <c:rich>
                  <a:bodyPr/>
                  <a:lstStyle/>
                  <a:p>
                    <a:r>
                      <a:t>IX 100</a:t>
                    </a:r>
                  </a:p>
                  <a:p>
                    <a:r>
                      <a:t>1254.27</a:t>
                    </a:r>
                  </a:p>
                </c:rich>
              </c:tx>
              <c:dLblPos val="l"/>
              <c:showLegendKey val="0"/>
              <c:showVal val="1"/>
              <c:showCatName val="0"/>
              <c:showSerName val="0"/>
              <c:showPercent val="0"/>
              <c:showBubbleSize val="0"/>
            </c:dLbl>
            <c:dLbl>
              <c:idx val="9"/>
              <c:tx>
                <c:rich>
                  <a:bodyPr/>
                  <a:lstStyle/>
                  <a:p>
                    <a:r>
                      <a:t>IX 100</a:t>
                    </a:r>
                  </a:p>
                  <a:p>
                    <a:r>
                      <a:t>1600.75</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IX 100</a:t>
                    </a:r>
                  </a:p>
                  <a:p>
                    <a:r>
                      <a:t>1755.95</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IX 79</a:t>
                    </a:r>
                  </a:p>
                  <a:p>
                    <a:r>
                      <a:t>6261.37</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IX 100</a:t>
                    </a:r>
                  </a:p>
                  <a:p>
                    <a:r>
                      <a:t>1352.33</a:t>
                    </a:r>
                  </a:p>
                </c:rich>
              </c:tx>
              <c:dLblPos val="l"/>
              <c:showLegendKey val="0"/>
              <c:showVal val="1"/>
              <c:showCatName val="0"/>
              <c:showSerName val="0"/>
              <c:showPercent val="0"/>
              <c:showBubbleSize val="0"/>
            </c:dLbl>
            <c:dLbl>
              <c:idx val="21"/>
              <c:tx>
                <c:rich>
                  <a:bodyPr/>
                  <a:lstStyle/>
                  <a:p>
                    <a:r>
                      <a:t>IX 100</a:t>
                    </a:r>
                  </a:p>
                  <a:p>
                    <a:r>
                      <a:t>11079.5</a:t>
                    </a:r>
                  </a:p>
                </c:rich>
              </c:tx>
              <c:dLblPos val="l"/>
              <c:showLegendKey val="0"/>
              <c:showVal val="1"/>
              <c:showCatName val="0"/>
              <c:showSerName val="0"/>
              <c:showPercent val="0"/>
              <c:showBubbleSize val="0"/>
            </c:dLbl>
            <c:dLbl>
              <c:idx val="22"/>
              <c:tx>
                <c:rich>
                  <a:bodyPr/>
                  <a:lstStyle/>
                  <a:p>
                    <a:r>
                      <a:t>IX 100</a:t>
                    </a:r>
                  </a:p>
                  <a:p>
                    <a:r>
                      <a:t>1282.73</a:t>
                    </a:r>
                  </a:p>
                </c:rich>
              </c:tx>
              <c:dLblPos val="l"/>
              <c:showLegendKey val="0"/>
              <c:showVal val="1"/>
              <c:showCatName val="0"/>
              <c:showSerName val="0"/>
              <c:showPercent val="0"/>
              <c:showBubbleSize val="0"/>
            </c:dLbl>
            <c:dLbl>
              <c:idx val="23"/>
              <c:tx>
                <c:rich>
                  <a:bodyPr/>
                  <a:lstStyle/>
                  <a:p>
                    <a:r>
                      <a:t>IX 100</a:t>
                    </a:r>
                  </a:p>
                  <a:p>
                    <a:r>
                      <a:t>2923.82</a:t>
                    </a:r>
                  </a:p>
                </c:rich>
              </c:tx>
              <c:dLblPos val="l"/>
              <c:showLegendKey val="0"/>
              <c:showVal val="1"/>
              <c:showCatName val="0"/>
              <c:showSerName val="0"/>
              <c:showPercent val="0"/>
              <c:showBubbleSize val="0"/>
            </c:dLbl>
            <c:dLbl>
              <c:idx val="24"/>
              <c:tx>
                <c:rich>
                  <a:bodyPr/>
                  <a:lstStyle/>
                  <a:p>
                    <a:r>
                      <a:t>IX 100</a:t>
                    </a:r>
                  </a:p>
                  <a:p>
                    <a:r>
                      <a:t>2886.96</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dLbl>
              <c:idx val="26"/>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4</c:v>
                </c:pt>
                <c:pt idx="2">
                  <c:v>IX 96</c:v>
                </c:pt>
                <c:pt idx="3">
                  <c:v/>
                </c:pt>
                <c:pt idx="4">
                  <c:v/>
                </c:pt>
                <c:pt idx="5">
                  <c:v/>
                </c:pt>
                <c:pt idx="6">
                  <c:v/>
                </c:pt>
                <c:pt idx="7">
                  <c:v>IX 100</c:v>
                </c:pt>
                <c:pt idx="8">
                  <c:v>IX 100</c:v>
                </c:pt>
                <c:pt idx="9">
                  <c:v>IX 100</c:v>
                </c:pt>
                <c:pt idx="10">
                  <c:v/>
                </c:pt>
                <c:pt idx="11">
                  <c:v/>
                </c:pt>
                <c:pt idx="12">
                  <c:v/>
                </c:pt>
                <c:pt idx="13">
                  <c:v>IX 100</c:v>
                </c:pt>
                <c:pt idx="14">
                  <c:v/>
                </c:pt>
                <c:pt idx="15">
                  <c:v>IX 79</c:v>
                </c:pt>
                <c:pt idx="16">
                  <c:v/>
                </c:pt>
                <c:pt idx="17">
                  <c:v/>
                </c:pt>
                <c:pt idx="18">
                  <c:v/>
                </c:pt>
                <c:pt idx="19">
                  <c:v/>
                </c:pt>
                <c:pt idx="20">
                  <c:v>IX 100</c:v>
                </c:pt>
                <c:pt idx="21">
                  <c:v>IX 100</c:v>
                </c:pt>
                <c:pt idx="22">
                  <c:v>IX 100</c:v>
                </c:pt>
                <c:pt idx="23">
                  <c:v>IX 100</c:v>
                </c:pt>
                <c:pt idx="24">
                  <c:v>IX 100</c:v>
                </c:pt>
                <c:pt idx="25">
                  <c:v/>
                </c:pt>
                <c:pt idx="26">
                  <c:v/>
                </c:pt>
              </c:strCache>
            </c:strRef>
          </c:cat>
          <c:val>
            <c:numRef>
              <c:f>Sheet1!$C$2:$C$28</c:f>
              <c:numCache>
                <c:formatCode>General</c:formatCode>
                <c:ptCount val="27"/>
                <c:pt idx="1">
                  <c:v>1248.7</c:v>
                </c:pt>
                <c:pt idx="2">
                  <c:v>1484.16</c:v>
                </c:pt>
                <c:pt idx="7">
                  <c:v>1370.57</c:v>
                </c:pt>
                <c:pt idx="8">
                  <c:v>1254.27</c:v>
                </c:pt>
                <c:pt idx="9">
                  <c:v>1600.75</c:v>
                </c:pt>
                <c:pt idx="13">
                  <c:v>1755.95</c:v>
                </c:pt>
                <c:pt idx="15">
                  <c:v>6261.37</c:v>
                </c:pt>
                <c:pt idx="20">
                  <c:v>1352.33</c:v>
                </c:pt>
                <c:pt idx="21">
                  <c:v>11079.5</c:v>
                </c:pt>
                <c:pt idx="22">
                  <c:v>1282.73</c:v>
                </c:pt>
                <c:pt idx="23">
                  <c:v>2923.82</c:v>
                </c:pt>
                <c:pt idx="24">
                  <c:v>2886.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4</c:v>
                </c:pt>
                <c:pt idx="2">
                  <c:v>IX 96</c:v>
                </c:pt>
                <c:pt idx="3">
                  <c:v/>
                </c:pt>
                <c:pt idx="4">
                  <c:v/>
                </c:pt>
                <c:pt idx="5">
                  <c:v/>
                </c:pt>
                <c:pt idx="6">
                  <c:v/>
                </c:pt>
                <c:pt idx="7">
                  <c:v>IX 100</c:v>
                </c:pt>
                <c:pt idx="8">
                  <c:v>IX 100</c:v>
                </c:pt>
                <c:pt idx="9">
                  <c:v>IX 100</c:v>
                </c:pt>
                <c:pt idx="10">
                  <c:v/>
                </c:pt>
                <c:pt idx="11">
                  <c:v/>
                </c:pt>
                <c:pt idx="12">
                  <c:v/>
                </c:pt>
                <c:pt idx="13">
                  <c:v>IX 100</c:v>
                </c:pt>
                <c:pt idx="14">
                  <c:v/>
                </c:pt>
                <c:pt idx="15">
                  <c:v>IX 79</c:v>
                </c:pt>
                <c:pt idx="16">
                  <c:v/>
                </c:pt>
                <c:pt idx="17">
                  <c:v/>
                </c:pt>
                <c:pt idx="18">
                  <c:v/>
                </c:pt>
                <c:pt idx="19">
                  <c:v/>
                </c:pt>
                <c:pt idx="20">
                  <c:v>IX 100</c:v>
                </c:pt>
                <c:pt idx="21">
                  <c:v>IX 100</c:v>
                </c:pt>
                <c:pt idx="22">
                  <c:v>IX 100</c:v>
                </c:pt>
                <c:pt idx="23">
                  <c:v>IX 100</c:v>
                </c:pt>
                <c:pt idx="24">
                  <c:v>IX 100</c:v>
                </c:pt>
                <c:pt idx="25">
                  <c:v/>
                </c:pt>
                <c:pt idx="26">
                  <c:v/>
                </c:pt>
              </c:strCache>
            </c:strRef>
          </c:cat>
          <c:val>
            <c:numRef>
              <c:f>Sheet1!$D$2:$D$28</c:f>
              <c:numCache>
                <c:formatCode>General</c:formatCode>
                <c:ptCount val="27"/>
                <c:pt idx="0">
                  <c:v>12532.18</c:v>
                </c:pt>
                <c:pt idx="3">
                  <c:v>12668.21</c:v>
                </c:pt>
                <c:pt idx="4">
                  <c:v>2608.07</c:v>
                </c:pt>
                <c:pt idx="6">
                  <c:v>7405.62</c:v>
                </c:pt>
                <c:pt idx="10">
                  <c:v>3210.89</c:v>
                </c:pt>
                <c:pt idx="12">
                  <c:v>51686.15</c:v>
                </c:pt>
                <c:pt idx="16">
                  <c:v>2690.6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4</c:v>
                </c:pt>
                <c:pt idx="2">
                  <c:v>IX 96</c:v>
                </c:pt>
                <c:pt idx="3">
                  <c:v/>
                </c:pt>
                <c:pt idx="4">
                  <c:v/>
                </c:pt>
                <c:pt idx="5">
                  <c:v/>
                </c:pt>
                <c:pt idx="6">
                  <c:v/>
                </c:pt>
                <c:pt idx="7">
                  <c:v>IX 100</c:v>
                </c:pt>
                <c:pt idx="8">
                  <c:v>IX 100</c:v>
                </c:pt>
                <c:pt idx="9">
                  <c:v>IX 100</c:v>
                </c:pt>
                <c:pt idx="10">
                  <c:v/>
                </c:pt>
                <c:pt idx="11">
                  <c:v/>
                </c:pt>
                <c:pt idx="12">
                  <c:v/>
                </c:pt>
                <c:pt idx="13">
                  <c:v>IX 100</c:v>
                </c:pt>
                <c:pt idx="14">
                  <c:v/>
                </c:pt>
                <c:pt idx="15">
                  <c:v>IX 79</c:v>
                </c:pt>
                <c:pt idx="16">
                  <c:v/>
                </c:pt>
                <c:pt idx="17">
                  <c:v/>
                </c:pt>
                <c:pt idx="18">
                  <c:v/>
                </c:pt>
                <c:pt idx="19">
                  <c:v/>
                </c:pt>
                <c:pt idx="20">
                  <c:v>IX 100</c:v>
                </c:pt>
                <c:pt idx="21">
                  <c:v>IX 100</c:v>
                </c:pt>
                <c:pt idx="22">
                  <c:v>IX 100</c:v>
                </c:pt>
                <c:pt idx="23">
                  <c:v>IX 100</c:v>
                </c:pt>
                <c:pt idx="24">
                  <c:v>IX 100</c:v>
                </c:pt>
                <c:pt idx="25">
                  <c:v/>
                </c:pt>
                <c:pt idx="26">
                  <c:v/>
                </c:pt>
              </c:strCache>
            </c:strRef>
          </c:cat>
          <c:val>
            <c:numRef>
              <c:f>Sheet1!$E$2:$E$28</c:f>
              <c:numCache>
                <c:formatCode>General</c:formatCode>
                <c:ptCount val="27"/>
                <c:pt idx="0">
                  <c:v>8432.2</c:v>
                </c:pt>
                <c:pt idx="1">
                  <c:v>5599.62</c:v>
                </c:pt>
                <c:pt idx="3">
                  <c:v>12586.62</c:v>
                </c:pt>
                <c:pt idx="4">
                  <c:v>11788.54</c:v>
                </c:pt>
                <c:pt idx="6">
                  <c:v>6818.96</c:v>
                </c:pt>
                <c:pt idx="10">
                  <c:v>6797.91</c:v>
                </c:pt>
                <c:pt idx="14">
                  <c:v>5147.95</c:v>
                </c:pt>
                <c:pt idx="16">
                  <c:v>4470.32</c:v>
                </c:pt>
                <c:pt idx="17">
                  <c:v>6641.1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iersdorf</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4</c:v>
                </c:pt>
                <c:pt idx="2">
                  <c:v>IX 96</c:v>
                </c:pt>
                <c:pt idx="3">
                  <c:v/>
                </c:pt>
                <c:pt idx="4">
                  <c:v/>
                </c:pt>
                <c:pt idx="5">
                  <c:v/>
                </c:pt>
                <c:pt idx="6">
                  <c:v/>
                </c:pt>
                <c:pt idx="7">
                  <c:v>IX 100</c:v>
                </c:pt>
                <c:pt idx="8">
                  <c:v>IX 100</c:v>
                </c:pt>
                <c:pt idx="9">
                  <c:v>IX 100</c:v>
                </c:pt>
                <c:pt idx="10">
                  <c:v/>
                </c:pt>
                <c:pt idx="11">
                  <c:v/>
                </c:pt>
                <c:pt idx="12">
                  <c:v/>
                </c:pt>
                <c:pt idx="13">
                  <c:v>IX 100</c:v>
                </c:pt>
                <c:pt idx="14">
                  <c:v/>
                </c:pt>
                <c:pt idx="15">
                  <c:v>IX 79</c:v>
                </c:pt>
                <c:pt idx="16">
                  <c:v/>
                </c:pt>
                <c:pt idx="17">
                  <c:v/>
                </c:pt>
                <c:pt idx="18">
                  <c:v/>
                </c:pt>
                <c:pt idx="19">
                  <c:v/>
                </c:pt>
                <c:pt idx="20">
                  <c:v>IX 100</c:v>
                </c:pt>
                <c:pt idx="21">
                  <c:v>IX 100</c:v>
                </c:pt>
                <c:pt idx="22">
                  <c:v>IX 100</c:v>
                </c:pt>
                <c:pt idx="23">
                  <c:v>IX 100</c:v>
                </c:pt>
                <c:pt idx="24">
                  <c:v>IX 100</c:v>
                </c:pt>
                <c:pt idx="25">
                  <c:v/>
                </c:pt>
                <c:pt idx="26">
                  <c:v/>
                </c:pt>
              </c:strCache>
            </c:strRef>
          </c:cat>
          <c:val>
            <c:numRef>
              <c:f>Sheet1!$F$2:$F$28</c:f>
              <c:numCache>
                <c:formatCode>General</c:formatCode>
                <c:ptCount val="27"/>
                <c:pt idx="0">
                  <c:v>8451.75</c:v>
                </c:pt>
                <c:pt idx="1">
                  <c:v>2865.42</c:v>
                </c:pt>
                <c:pt idx="2">
                  <c:v>1539.76</c:v>
                </c:pt>
                <c:pt idx="3">
                  <c:v>12383.04</c:v>
                </c:pt>
                <c:pt idx="4">
                  <c:v>13007.42</c:v>
                </c:pt>
                <c:pt idx="5">
                  <c:v>1645.28</c:v>
                </c:pt>
                <c:pt idx="6">
                  <c:v>4192.05</c:v>
                </c:pt>
                <c:pt idx="11">
                  <c:v>8759.82</c:v>
                </c:pt>
                <c:pt idx="15">
                  <c:v>7902.3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703.754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91</c:v>
                </c:pt>
                <c:pt idx="4">
                  <c:v>IX 35</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B$2:$B$25</c:f>
              <c:numCache>
                <c:formatCode>General</c:formatCode>
                <c:ptCount val="24"/>
                <c:pt idx="0">
                  <c:v>8348.7</c:v>
                </c:pt>
                <c:pt idx="1">
                  <c:v>13486.03</c:v>
                </c:pt>
                <c:pt idx="2">
                  <c:v>5346.71</c:v>
                </c:pt>
                <c:pt idx="3">
                  <c:v>1784.23</c:v>
                </c:pt>
                <c:pt idx="4">
                  <c:v>1788.9</c:v>
                </c:pt>
                <c:pt idx="5">
                  <c:v>4975.56</c:v>
                </c:pt>
                <c:pt idx="6">
                  <c:v>4421.92</c:v>
                </c:pt>
                <c:pt idx="7">
                  <c:v>10425.96</c:v>
                </c:pt>
                <c:pt idx="8">
                  <c:v>1457.15</c:v>
                </c:pt>
                <c:pt idx="9">
                  <c:v>1966.45</c:v>
                </c:pt>
                <c:pt idx="10">
                  <c:v>52282.7</c:v>
                </c:pt>
                <c:pt idx="11">
                  <c:v>2949.2</c:v>
                </c:pt>
                <c:pt idx="12">
                  <c:v>1274.78</c:v>
                </c:pt>
                <c:pt idx="13">
                  <c:v>2126.18</c:v>
                </c:pt>
                <c:pt idx="14">
                  <c:v>22118.93</c:v>
                </c:pt>
                <c:pt idx="15">
                  <c:v>1760.0</c:v>
                </c:pt>
                <c:pt idx="16">
                  <c:v>3504.29</c:v>
                </c:pt>
                <c:pt idx="17">
                  <c:v>35161.41</c:v>
                </c:pt>
                <c:pt idx="18">
                  <c:v>8441.82</c:v>
                </c:pt>
                <c:pt idx="19">
                  <c:v>8041.06</c:v>
                </c:pt>
                <c:pt idx="20">
                  <c:v>2102.2</c:v>
                </c:pt>
                <c:pt idx="21">
                  <c:v>1463.8</c:v>
                </c:pt>
                <c:pt idx="22">
                  <c:v>5995.1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91</a:t>
                    </a:r>
                  </a:p>
                  <a:p>
                    <a:r>
                      <a:t>1488.29</a:t>
                    </a:r>
                  </a:p>
                </c:rich>
              </c:tx>
              <c:dLblPos val="l"/>
              <c:showLegendKey val="0"/>
              <c:showVal val="1"/>
              <c:showCatName val="0"/>
              <c:showSerName val="0"/>
              <c:showPercent val="0"/>
              <c:showBubbleSize val="0"/>
            </c:dLbl>
            <c:dLbl>
              <c:idx val="4"/>
              <c:tx>
                <c:rich>
                  <a:bodyPr/>
                  <a:lstStyle/>
                  <a:p>
                    <a:r>
                      <a:t>IX 35</a:t>
                    </a:r>
                  </a:p>
                  <a:p>
                    <a:r>
                      <a:t>1290.4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IX 100</a:t>
                    </a:r>
                  </a:p>
                  <a:p>
                    <a:r>
                      <a:t>1459.63</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IX 100</a:t>
                    </a:r>
                  </a:p>
                  <a:p>
                    <a:r>
                      <a:t>1452.2</a:t>
                    </a:r>
                  </a:p>
                </c:rich>
              </c:tx>
              <c:dLblPos val="l"/>
              <c:showLegendKey val="0"/>
              <c:showVal val="1"/>
              <c:showCatName val="0"/>
              <c:showSerName val="0"/>
              <c:showPercent val="0"/>
              <c:showBubbleSize val="0"/>
            </c:dLbl>
            <c:dLbl>
              <c:idx val="13"/>
              <c:tx>
                <c:rich>
                  <a:bodyPr/>
                  <a:lstStyle/>
                  <a:p>
                    <a:r>
                      <a:t>IX 100</a:t>
                    </a:r>
                  </a:p>
                  <a:p>
                    <a:r>
                      <a:t>1993.87</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IX 100</a:t>
                    </a:r>
                  </a:p>
                  <a:p>
                    <a:r>
                      <a:t>1812.57</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IX 0</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IX 100</a:t>
                    </a:r>
                  </a:p>
                  <a:p>
                    <a:r>
                      <a:t>11079.5</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IX 100</a:t>
                    </a:r>
                  </a:p>
                  <a:p>
                    <a:r>
                      <a:t>5995.11</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91</c:v>
                </c:pt>
                <c:pt idx="4">
                  <c:v>IX 35</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C$2:$C$25</c:f>
              <c:numCache>
                <c:formatCode>General</c:formatCode>
                <c:ptCount val="24"/>
                <c:pt idx="3">
                  <c:v>1488.29</c:v>
                </c:pt>
                <c:pt idx="4">
                  <c:v>1290.45</c:v>
                </c:pt>
                <c:pt idx="8">
                  <c:v>1459.63</c:v>
                </c:pt>
                <c:pt idx="12">
                  <c:v>1452.2</c:v>
                </c:pt>
                <c:pt idx="13">
                  <c:v>1993.87</c:v>
                </c:pt>
                <c:pt idx="15">
                  <c:v>1812.57</c:v>
                </c:pt>
                <c:pt idx="20">
                  <c:v>11079.5</c:v>
                </c:pt>
                <c:pt idx="22">
                  <c:v>5995.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91</c:v>
                </c:pt>
                <c:pt idx="4">
                  <c:v>IX 35</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D$2:$D$25</c:f>
              <c:numCache>
                <c:formatCode>General</c:formatCode>
                <c:ptCount val="24"/>
                <c:pt idx="0">
                  <c:v>12586.15</c:v>
                </c:pt>
                <c:pt idx="1">
                  <c:v>12861.37</c:v>
                </c:pt>
                <c:pt idx="2">
                  <c:v>2613.65</c:v>
                </c:pt>
                <c:pt idx="5">
                  <c:v>7407.64</c:v>
                </c:pt>
                <c:pt idx="6">
                  <c:v>3251.36</c:v>
                </c:pt>
                <c:pt idx="10">
                  <c:v>52262.69</c:v>
                </c:pt>
                <c:pt idx="16">
                  <c:v>2729.1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91</c:v>
                </c:pt>
                <c:pt idx="4">
                  <c:v>IX 35</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E$2:$E$25</c:f>
              <c:numCache>
                <c:formatCode>General</c:formatCode>
                <c:ptCount val="24"/>
                <c:pt idx="0">
                  <c:v>8616.73</c:v>
                </c:pt>
                <c:pt idx="1">
                  <c:v>12661.88</c:v>
                </c:pt>
                <c:pt idx="2">
                  <c:v>11795.75</c:v>
                </c:pt>
                <c:pt idx="4">
                  <c:v>5664.61</c:v>
                </c:pt>
                <c:pt idx="5">
                  <c:v>6646.36</c:v>
                </c:pt>
                <c:pt idx="6">
                  <c:v>6945.67</c:v>
                </c:pt>
                <c:pt idx="11">
                  <c:v>5086.48</c:v>
                </c:pt>
                <c:pt idx="16">
                  <c:v>4304.04</c:v>
                </c:pt>
                <c:pt idx="19">
                  <c:v>6897.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eiersdorf</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91</c:v>
                </c:pt>
                <c:pt idx="4">
                  <c:v>IX 35</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F$2:$F$25</c:f>
              <c:numCache>
                <c:formatCode>General</c:formatCode>
                <c:ptCount val="24"/>
                <c:pt idx="0">
                  <c:v>8465.23</c:v>
                </c:pt>
                <c:pt idx="1">
                  <c:v>12652.35</c:v>
                </c:pt>
                <c:pt idx="2">
                  <c:v>13134.66</c:v>
                </c:pt>
                <c:pt idx="3">
                  <c:v>1631.9</c:v>
                </c:pt>
                <c:pt idx="4">
                  <c:v>3677.24</c:v>
                </c:pt>
                <c:pt idx="5">
                  <c:v>4196.18</c:v>
                </c:pt>
                <c:pt idx="7">
                  <c:v>9360.55</c:v>
                </c:pt>
                <c:pt idx="9">
                  <c:v>1938.79</c:v>
                </c:pt>
                <c:pt idx="18">
                  <c:v>8389.8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83.204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41</c:v>
                </c:pt>
                <c:pt idx="1">
                  <c:v/>
                </c:pt>
                <c:pt idx="2">
                  <c:v>IX 89</c:v>
                </c:pt>
                <c:pt idx="3">
                  <c:v/>
                </c:pt>
                <c:pt idx="4">
                  <c:v>IX 100</c:v>
                </c:pt>
                <c:pt idx="5">
                  <c:v/>
                </c:pt>
                <c:pt idx="6">
                  <c:v>IX 100</c:v>
                </c:pt>
                <c:pt idx="7">
                  <c:v>IX 100</c:v>
                </c:pt>
                <c:pt idx="8">
                  <c:v>IX 100</c:v>
                </c:pt>
                <c:pt idx="9">
                  <c:v/>
                </c:pt>
                <c:pt idx="10">
                  <c:v>IX 100</c:v>
                </c:pt>
                <c:pt idx="11">
                  <c:v/>
                </c:pt>
                <c:pt idx="12">
                  <c:v/>
                </c:pt>
                <c:pt idx="13">
                  <c:v/>
                </c:pt>
                <c:pt idx="14">
                  <c:v/>
                </c:pt>
                <c:pt idx="15">
                  <c:v/>
                </c:pt>
              </c:strCache>
            </c:strRef>
          </c:cat>
          <c:val>
            <c:numRef>
              <c:f>Sheet1!$B$2:$B$17</c:f>
              <c:numCache>
                <c:formatCode>General</c:formatCode>
                <c:ptCount val="16"/>
                <c:pt idx="0">
                  <c:v>1198.21</c:v>
                </c:pt>
                <c:pt idx="1">
                  <c:v>2113.39</c:v>
                </c:pt>
                <c:pt idx="2">
                  <c:v>1464.2</c:v>
                </c:pt>
                <c:pt idx="3">
                  <c:v>1738.05</c:v>
                </c:pt>
                <c:pt idx="4">
                  <c:v>874.66</c:v>
                </c:pt>
                <c:pt idx="5">
                  <c:v>1957.33</c:v>
                </c:pt>
                <c:pt idx="6">
                  <c:v>1194.98</c:v>
                </c:pt>
                <c:pt idx="7">
                  <c:v>2053.06</c:v>
                </c:pt>
                <c:pt idx="8">
                  <c:v>778.96</c:v>
                </c:pt>
                <c:pt idx="9">
                  <c:v>12933.64</c:v>
                </c:pt>
                <c:pt idx="10">
                  <c:v>1151.97</c:v>
                </c:pt>
                <c:pt idx="11">
                  <c:v>6027.0</c:v>
                </c:pt>
                <c:pt idx="12">
                  <c:v>895.05</c:v>
                </c:pt>
                <c:pt idx="13">
                  <c:v>18750.0</c:v>
                </c:pt>
                <c:pt idx="14">
                  <c:v>3782.42</c:v>
                </c:pt>
                <c:pt idx="15">
                  <c:v>2339.5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1</a:t>
                    </a:r>
                  </a:p>
                  <a:p>
                    <a:r>
                      <a:t>1092.8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89</a:t>
                    </a:r>
                  </a:p>
                  <a:p>
                    <a:r>
                      <a:t>1320.3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174.11</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1194.98</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IX 100</a:t>
                    </a:r>
                  </a:p>
                  <a:p>
                    <a:r>
                      <a:t>2072.82</a:t>
                    </a:r>
                  </a:p>
                </c:rich>
              </c:tx>
              <c:dLblPos val="l"/>
              <c:showLegendKey val="0"/>
              <c:showVal val="1"/>
              <c:showCatName val="0"/>
              <c:showSerName val="0"/>
              <c:showPercent val="0"/>
              <c:showBubbleSize val="0"/>
            </c:dLbl>
            <c:dLbl>
              <c:idx val="8"/>
              <c:tx>
                <c:rich>
                  <a:bodyPr/>
                  <a:lstStyle/>
                  <a:p>
                    <a:r>
                      <a:t>IX 100</a:t>
                    </a:r>
                  </a:p>
                  <a:p>
                    <a:r>
                      <a:t>953.33</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1220.56</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41</c:v>
                </c:pt>
                <c:pt idx="1">
                  <c:v/>
                </c:pt>
                <c:pt idx="2">
                  <c:v>IX 89</c:v>
                </c:pt>
                <c:pt idx="3">
                  <c:v/>
                </c:pt>
                <c:pt idx="4">
                  <c:v>IX 100</c:v>
                </c:pt>
                <c:pt idx="5">
                  <c:v/>
                </c:pt>
                <c:pt idx="6">
                  <c:v>IX 100</c:v>
                </c:pt>
                <c:pt idx="7">
                  <c:v>IX 100</c:v>
                </c:pt>
                <c:pt idx="8">
                  <c:v>IX 100</c:v>
                </c:pt>
                <c:pt idx="9">
                  <c:v/>
                </c:pt>
                <c:pt idx="10">
                  <c:v>IX 100</c:v>
                </c:pt>
                <c:pt idx="11">
                  <c:v/>
                </c:pt>
                <c:pt idx="12">
                  <c:v/>
                </c:pt>
                <c:pt idx="13">
                  <c:v/>
                </c:pt>
                <c:pt idx="14">
                  <c:v/>
                </c:pt>
                <c:pt idx="15">
                  <c:v/>
                </c:pt>
              </c:strCache>
            </c:strRef>
          </c:cat>
          <c:val>
            <c:numRef>
              <c:f>Sheet1!$C$2:$C$17</c:f>
              <c:numCache>
                <c:formatCode>General</c:formatCode>
                <c:ptCount val="16"/>
                <c:pt idx="0">
                  <c:v>1092.83</c:v>
                </c:pt>
                <c:pt idx="2">
                  <c:v>1320.33</c:v>
                </c:pt>
                <c:pt idx="4">
                  <c:v>1174.11</c:v>
                </c:pt>
                <c:pt idx="6">
                  <c:v>1194.98</c:v>
                </c:pt>
                <c:pt idx="7">
                  <c:v>2072.82</c:v>
                </c:pt>
                <c:pt idx="8">
                  <c:v>953.33</c:v>
                </c:pt>
                <c:pt idx="10">
                  <c:v>1220.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41</c:v>
                </c:pt>
                <c:pt idx="1">
                  <c:v/>
                </c:pt>
                <c:pt idx="2">
                  <c:v>IX 89</c:v>
                </c:pt>
                <c:pt idx="3">
                  <c:v/>
                </c:pt>
                <c:pt idx="4">
                  <c:v>IX 100</c:v>
                </c:pt>
                <c:pt idx="5">
                  <c:v/>
                </c:pt>
                <c:pt idx="6">
                  <c:v>IX 100</c:v>
                </c:pt>
                <c:pt idx="7">
                  <c:v>IX 100</c:v>
                </c:pt>
                <c:pt idx="8">
                  <c:v>IX 100</c:v>
                </c:pt>
                <c:pt idx="9">
                  <c:v/>
                </c:pt>
                <c:pt idx="10">
                  <c:v>IX 100</c:v>
                </c:pt>
                <c:pt idx="11">
                  <c:v/>
                </c:pt>
                <c:pt idx="12">
                  <c:v/>
                </c:pt>
                <c:pt idx="13">
                  <c:v/>
                </c:pt>
                <c:pt idx="14">
                  <c:v/>
                </c:pt>
                <c:pt idx="15">
                  <c:v/>
                </c:pt>
              </c:strCache>
            </c:strRef>
          </c:cat>
          <c:val>
            <c:numRef>
              <c:f>Sheet1!$D$2:$D$17</c:f>
              <c:numCache>
                <c:formatCode>General</c:formatCode>
                <c:ptCount val="16"/>
                <c:pt idx="0">
                  <c:v>2635.83</c:v>
                </c:pt>
                <c:pt idx="2">
                  <c:v>1489.29</c:v>
                </c:pt>
                <c:pt idx="3">
                  <c:v>1738.05</c:v>
                </c:pt>
                <c:pt idx="14">
                  <c:v>3575.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41</c:v>
                </c:pt>
                <c:pt idx="1">
                  <c:v/>
                </c:pt>
                <c:pt idx="2">
                  <c:v>IX 89</c:v>
                </c:pt>
                <c:pt idx="3">
                  <c:v/>
                </c:pt>
                <c:pt idx="4">
                  <c:v>IX 100</c:v>
                </c:pt>
                <c:pt idx="5">
                  <c:v/>
                </c:pt>
                <c:pt idx="6">
                  <c:v>IX 100</c:v>
                </c:pt>
                <c:pt idx="7">
                  <c:v>IX 100</c:v>
                </c:pt>
                <c:pt idx="8">
                  <c:v>IX 100</c:v>
                </c:pt>
                <c:pt idx="9">
                  <c:v/>
                </c:pt>
                <c:pt idx="10">
                  <c:v>IX 100</c:v>
                </c:pt>
                <c:pt idx="11">
                  <c:v/>
                </c:pt>
                <c:pt idx="12">
                  <c:v/>
                </c:pt>
                <c:pt idx="13">
                  <c:v/>
                </c:pt>
                <c:pt idx="14">
                  <c:v/>
                </c:pt>
                <c:pt idx="15">
                  <c:v/>
                </c:pt>
              </c:strCache>
            </c:strRef>
          </c:cat>
          <c:val>
            <c:numRef>
              <c:f>Sheet1!$E$2:$E$17</c:f>
              <c:numCache>
                <c:formatCode>General</c:formatCode>
                <c:ptCount val="16"/>
                <c:pt idx="1">
                  <c:v>9003.47</c:v>
                </c:pt>
                <c:pt idx="5">
                  <c:v>1957.33</c:v>
                </c:pt>
                <c:pt idx="9">
                  <c:v>12933.6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41</c:v>
                </c:pt>
                <c:pt idx="1">
                  <c:v/>
                </c:pt>
                <c:pt idx="2">
                  <c:v>IX 89</c:v>
                </c:pt>
                <c:pt idx="3">
                  <c:v/>
                </c:pt>
                <c:pt idx="4">
                  <c:v>IX 100</c:v>
                </c:pt>
                <c:pt idx="5">
                  <c:v/>
                </c:pt>
                <c:pt idx="6">
                  <c:v>IX 100</c:v>
                </c:pt>
                <c:pt idx="7">
                  <c:v>IX 100</c:v>
                </c:pt>
                <c:pt idx="8">
                  <c:v>IX 100</c:v>
                </c:pt>
                <c:pt idx="9">
                  <c:v/>
                </c:pt>
                <c:pt idx="10">
                  <c:v>IX 100</c:v>
                </c:pt>
                <c:pt idx="11">
                  <c:v/>
                </c:pt>
                <c:pt idx="12">
                  <c:v/>
                </c:pt>
                <c:pt idx="13">
                  <c:v/>
                </c:pt>
                <c:pt idx="14">
                  <c:v/>
                </c:pt>
                <c:pt idx="15">
                  <c:v/>
                </c:pt>
              </c:strCache>
            </c:strRef>
          </c:cat>
          <c:val>
            <c:numRef>
              <c:f>Sheet1!$F$2:$F$17</c:f>
              <c:numCache>
                <c:formatCode>General</c:formatCode>
                <c:ptCount val="16"/>
                <c:pt idx="11">
                  <c:v>6027.0</c:v>
                </c:pt>
                <c:pt idx="14">
                  <c:v>5440.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750.5"/>
          <c:min val="778.45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6</c:v>
                </c:pt>
                <c:pt idx="1">
                  <c:v>IX 99</c:v>
                </c:pt>
                <c:pt idx="2">
                  <c:v/>
                </c:pt>
                <c:pt idx="3">
                  <c:v/>
                </c:pt>
                <c:pt idx="4">
                  <c:v>IX 100</c:v>
                </c:pt>
                <c:pt idx="5">
                  <c:v>IX 100</c:v>
                </c:pt>
                <c:pt idx="6">
                  <c:v>IX 100</c:v>
                </c:pt>
                <c:pt idx="7">
                  <c:v/>
                </c:pt>
                <c:pt idx="8">
                  <c:v/>
                </c:pt>
                <c:pt idx="9">
                  <c:v/>
                </c:pt>
                <c:pt idx="10">
                  <c:v>IX 100</c:v>
                </c:pt>
                <c:pt idx="11">
                  <c:v/>
                </c:pt>
                <c:pt idx="12">
                  <c:v>IX 80</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B$2:$B$27</c:f>
              <c:numCache>
                <c:formatCode>General</c:formatCode>
                <c:ptCount val="26"/>
                <c:pt idx="0">
                  <c:v>1473.85</c:v>
                </c:pt>
                <c:pt idx="1">
                  <c:v>1504.77</c:v>
                </c:pt>
                <c:pt idx="2">
                  <c:v>4715.99</c:v>
                </c:pt>
                <c:pt idx="3">
                  <c:v>1563.35</c:v>
                </c:pt>
                <c:pt idx="4">
                  <c:v>1343.55</c:v>
                </c:pt>
                <c:pt idx="5">
                  <c:v>942.23</c:v>
                </c:pt>
                <c:pt idx="6">
                  <c:v>1544.84</c:v>
                </c:pt>
                <c:pt idx="7">
                  <c:v>14455.45</c:v>
                </c:pt>
                <c:pt idx="8">
                  <c:v>4813.24</c:v>
                </c:pt>
                <c:pt idx="9">
                  <c:v>6465.01</c:v>
                </c:pt>
                <c:pt idx="10">
                  <c:v>1755.97</c:v>
                </c:pt>
                <c:pt idx="11">
                  <c:v>3237.38</c:v>
                </c:pt>
                <c:pt idx="12">
                  <c:v>7633.02</c:v>
                </c:pt>
                <c:pt idx="13">
                  <c:v>6628.09</c:v>
                </c:pt>
                <c:pt idx="14">
                  <c:v>18875.17</c:v>
                </c:pt>
                <c:pt idx="15">
                  <c:v>1763.89</c:v>
                </c:pt>
                <c:pt idx="16">
                  <c:v>58090.78</c:v>
                </c:pt>
                <c:pt idx="17">
                  <c:v>4587.53</c:v>
                </c:pt>
                <c:pt idx="18">
                  <c:v>1731.98</c:v>
                </c:pt>
                <c:pt idx="19">
                  <c:v>2995.0</c:v>
                </c:pt>
                <c:pt idx="20">
                  <c:v>6577.56</c:v>
                </c:pt>
                <c:pt idx="21">
                  <c:v>1503.35</c:v>
                </c:pt>
                <c:pt idx="22">
                  <c:v>2802.84</c:v>
                </c:pt>
                <c:pt idx="23">
                  <c:v>2812.12</c:v>
                </c:pt>
                <c:pt idx="24">
                  <c:v>5222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6</a:t>
                    </a:r>
                  </a:p>
                  <a:p>
                    <a:r>
                      <a:t>1242.2</a:t>
                    </a:r>
                  </a:p>
                </c:rich>
              </c:tx>
              <c:dLblPos val="l"/>
              <c:showLegendKey val="0"/>
              <c:showVal val="1"/>
              <c:showCatName val="0"/>
              <c:showSerName val="0"/>
              <c:showPercent val="0"/>
              <c:showBubbleSize val="0"/>
            </c:dLbl>
            <c:dLbl>
              <c:idx val="1"/>
              <c:tx>
                <c:rich>
                  <a:bodyPr/>
                  <a:lstStyle/>
                  <a:p>
                    <a:r>
                      <a:t>IX 99</a:t>
                    </a:r>
                  </a:p>
                  <a:p>
                    <a:r>
                      <a:t>1491.7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343.4</a:t>
                    </a:r>
                  </a:p>
                </c:rich>
              </c:tx>
              <c:dLblPos val="l"/>
              <c:showLegendKey val="0"/>
              <c:showVal val="1"/>
              <c:showCatName val="0"/>
              <c:showSerName val="0"/>
              <c:showPercent val="0"/>
              <c:showBubbleSize val="0"/>
            </c:dLbl>
            <c:dLbl>
              <c:idx val="5"/>
              <c:tx>
                <c:rich>
                  <a:bodyPr/>
                  <a:lstStyle/>
                  <a:p>
                    <a:r>
                      <a:t>IX 100</a:t>
                    </a:r>
                  </a:p>
                  <a:p>
                    <a:r>
                      <a:t>1194.87</a:t>
                    </a:r>
                  </a:p>
                </c:rich>
              </c:tx>
              <c:dLblPos val="l"/>
              <c:showLegendKey val="0"/>
              <c:showVal val="1"/>
              <c:showCatName val="0"/>
              <c:showSerName val="0"/>
              <c:showPercent val="0"/>
              <c:showBubbleSize val="0"/>
            </c:dLbl>
            <c:dLbl>
              <c:idx val="6"/>
              <c:tx>
                <c:rich>
                  <a:bodyPr/>
                  <a:lstStyle/>
                  <a:p>
                    <a:r>
                      <a:t>IX 100</a:t>
                    </a:r>
                  </a:p>
                  <a:p>
                    <a:r>
                      <a:t>1515.13</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1742.28</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IX 80</a:t>
                    </a:r>
                  </a:p>
                  <a:p>
                    <a:r>
                      <a:t>6153.66</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IX 100</a:t>
                    </a:r>
                  </a:p>
                  <a:p>
                    <a:r>
                      <a:t>1328.31</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IX 100</a:t>
                    </a:r>
                  </a:p>
                  <a:p>
                    <a:r>
                      <a:t>1226.46</a:t>
                    </a:r>
                  </a:p>
                </c:rich>
              </c:tx>
              <c:dLblPos val="l"/>
              <c:showLegendKey val="0"/>
              <c:showVal val="1"/>
              <c:showCatName val="0"/>
              <c:showSerName val="0"/>
              <c:showPercent val="0"/>
              <c:showBubbleSize val="0"/>
            </c:dLbl>
            <c:dLbl>
              <c:idx val="22"/>
              <c:tx>
                <c:rich>
                  <a:bodyPr/>
                  <a:lstStyle/>
                  <a:p>
                    <a:r>
                      <a:t>IX 100</a:t>
                    </a:r>
                  </a:p>
                  <a:p>
                    <a:r>
                      <a:t>2802.84</a:t>
                    </a:r>
                  </a:p>
                </c:rich>
              </c:tx>
              <c:dLblPos val="l"/>
              <c:showLegendKey val="0"/>
              <c:showVal val="1"/>
              <c:showCatName val="0"/>
              <c:showSerName val="0"/>
              <c:showPercent val="0"/>
              <c:showBubbleSize val="0"/>
            </c:dLbl>
            <c:dLbl>
              <c:idx val="23"/>
              <c:tx>
                <c:rich>
                  <a:bodyPr/>
                  <a:lstStyle/>
                  <a:p>
                    <a:r>
                      <a:t>IX 100</a:t>
                    </a:r>
                  </a:p>
                  <a:p>
                    <a:r>
                      <a:t>2812.12</a:t>
                    </a:r>
                  </a:p>
                </c:rich>
              </c:tx>
              <c:dLblPos val="l"/>
              <c:showLegendKey val="0"/>
              <c:showVal val="1"/>
              <c:showCatName val="0"/>
              <c:showSerName val="0"/>
              <c:showPercent val="0"/>
              <c:showBubbleSize val="0"/>
            </c:dLbl>
            <c:dLbl>
              <c:idx val="24"/>
              <c:tx>
                <c:rich>
                  <a:bodyPr/>
                  <a:lstStyle/>
                  <a:p>
                    <a:r>
                      <a:t>None</a:t>
                    </a:r>
                  </a:p>
                  <a:p>
                    <a:r>
                      <a:t>None</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6</c:v>
                </c:pt>
                <c:pt idx="1">
                  <c:v>IX 99</c:v>
                </c:pt>
                <c:pt idx="2">
                  <c:v/>
                </c:pt>
                <c:pt idx="3">
                  <c:v/>
                </c:pt>
                <c:pt idx="4">
                  <c:v>IX 100</c:v>
                </c:pt>
                <c:pt idx="5">
                  <c:v>IX 100</c:v>
                </c:pt>
                <c:pt idx="6">
                  <c:v>IX 100</c:v>
                </c:pt>
                <c:pt idx="7">
                  <c:v/>
                </c:pt>
                <c:pt idx="8">
                  <c:v/>
                </c:pt>
                <c:pt idx="9">
                  <c:v/>
                </c:pt>
                <c:pt idx="10">
                  <c:v>IX 100</c:v>
                </c:pt>
                <c:pt idx="11">
                  <c:v/>
                </c:pt>
                <c:pt idx="12">
                  <c:v>IX 80</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C$2:$C$27</c:f>
              <c:numCache>
                <c:formatCode>General</c:formatCode>
                <c:ptCount val="26"/>
                <c:pt idx="0">
                  <c:v>1242.2</c:v>
                </c:pt>
                <c:pt idx="1">
                  <c:v>1491.77</c:v>
                </c:pt>
                <c:pt idx="4">
                  <c:v>1343.4</c:v>
                </c:pt>
                <c:pt idx="5">
                  <c:v>1194.87</c:v>
                </c:pt>
                <c:pt idx="6">
                  <c:v>1515.13</c:v>
                </c:pt>
                <c:pt idx="10">
                  <c:v>1742.28</c:v>
                </c:pt>
                <c:pt idx="12">
                  <c:v>6153.66</c:v>
                </c:pt>
                <c:pt idx="15">
                  <c:v>1328.31</c:v>
                </c:pt>
                <c:pt idx="21">
                  <c:v>1226.46</c:v>
                </c:pt>
                <c:pt idx="22">
                  <c:v>2802.84</c:v>
                </c:pt>
                <c:pt idx="23">
                  <c:v>2812.1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6</c:v>
                </c:pt>
                <c:pt idx="1">
                  <c:v>IX 99</c:v>
                </c:pt>
                <c:pt idx="2">
                  <c:v/>
                </c:pt>
                <c:pt idx="3">
                  <c:v/>
                </c:pt>
                <c:pt idx="4">
                  <c:v>IX 100</c:v>
                </c:pt>
                <c:pt idx="5">
                  <c:v>IX 100</c:v>
                </c:pt>
                <c:pt idx="6">
                  <c:v>IX 100</c:v>
                </c:pt>
                <c:pt idx="7">
                  <c:v/>
                </c:pt>
                <c:pt idx="8">
                  <c:v/>
                </c:pt>
                <c:pt idx="9">
                  <c:v/>
                </c:pt>
                <c:pt idx="10">
                  <c:v>IX 100</c:v>
                </c:pt>
                <c:pt idx="11">
                  <c:v/>
                </c:pt>
                <c:pt idx="12">
                  <c:v>IX 80</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D$2:$D$27</c:f>
              <c:numCache>
                <c:formatCode>General</c:formatCode>
                <c:ptCount val="26"/>
                <c:pt idx="0">
                  <c:v>2672.15</c:v>
                </c:pt>
                <c:pt idx="1">
                  <c:v>1512.64</c:v>
                </c:pt>
                <c:pt idx="2">
                  <c:v>8981.66</c:v>
                </c:pt>
                <c:pt idx="3">
                  <c:v>1563.29</c:v>
                </c:pt>
                <c:pt idx="7">
                  <c:v>12113.39</c:v>
                </c:pt>
                <c:pt idx="8">
                  <c:v>12782.08</c:v>
                </c:pt>
                <c:pt idx="9">
                  <c:v>4258.88</c:v>
                </c:pt>
                <c:pt idx="12">
                  <c:v>7698.16</c:v>
                </c:pt>
                <c:pt idx="20">
                  <c:v>5944.1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6</c:v>
                </c:pt>
                <c:pt idx="1">
                  <c:v>IX 99</c:v>
                </c:pt>
                <c:pt idx="2">
                  <c:v/>
                </c:pt>
                <c:pt idx="3">
                  <c:v/>
                </c:pt>
                <c:pt idx="4">
                  <c:v>IX 100</c:v>
                </c:pt>
                <c:pt idx="5">
                  <c:v>IX 100</c:v>
                </c:pt>
                <c:pt idx="6">
                  <c:v>IX 100</c:v>
                </c:pt>
                <c:pt idx="7">
                  <c:v/>
                </c:pt>
                <c:pt idx="8">
                  <c:v/>
                </c:pt>
                <c:pt idx="9">
                  <c:v/>
                </c:pt>
                <c:pt idx="10">
                  <c:v>IX 100</c:v>
                </c:pt>
                <c:pt idx="11">
                  <c:v/>
                </c:pt>
                <c:pt idx="12">
                  <c:v>IX 80</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E$2:$E$27</c:f>
              <c:numCache>
                <c:formatCode>General</c:formatCode>
                <c:ptCount val="26"/>
                <c:pt idx="0">
                  <c:v>5695.93</c:v>
                </c:pt>
                <c:pt idx="2">
                  <c:v>8866.49</c:v>
                </c:pt>
                <c:pt idx="7">
                  <c:v>12985.99</c:v>
                </c:pt>
                <c:pt idx="8">
                  <c:v>12274.36</c:v>
                </c:pt>
                <c:pt idx="9">
                  <c:v>7340.2</c:v>
                </c:pt>
                <c:pt idx="11">
                  <c:v>6520.99</c:v>
                </c:pt>
                <c:pt idx="13">
                  <c:v>6628.09</c:v>
                </c:pt>
                <c:pt idx="17">
                  <c:v>5451.71</c:v>
                </c:pt>
                <c:pt idx="19">
                  <c:v>3389.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6</c:v>
                </c:pt>
                <c:pt idx="1">
                  <c:v>IX 99</c:v>
                </c:pt>
                <c:pt idx="2">
                  <c:v/>
                </c:pt>
                <c:pt idx="3">
                  <c:v/>
                </c:pt>
                <c:pt idx="4">
                  <c:v>IX 100</c:v>
                </c:pt>
                <c:pt idx="5">
                  <c:v>IX 100</c:v>
                </c:pt>
                <c:pt idx="6">
                  <c:v>IX 100</c:v>
                </c:pt>
                <c:pt idx="7">
                  <c:v/>
                </c:pt>
                <c:pt idx="8">
                  <c:v/>
                </c:pt>
                <c:pt idx="9">
                  <c:v/>
                </c:pt>
                <c:pt idx="10">
                  <c:v>IX 100</c:v>
                </c:pt>
                <c:pt idx="11">
                  <c:v/>
                </c:pt>
                <c:pt idx="12">
                  <c:v>IX 80</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F$2:$F$27</c:f>
              <c:numCache>
                <c:formatCode>General</c:formatCode>
                <c:ptCount val="26"/>
                <c:pt idx="2">
                  <c:v>13060.86</c:v>
                </c:pt>
                <c:pt idx="7">
                  <c:v>14025.3</c:v>
                </c:pt>
                <c:pt idx="8">
                  <c:v>2677.76</c:v>
                </c:pt>
                <c:pt idx="9">
                  <c:v>7747.75</c:v>
                </c:pt>
                <c:pt idx="11">
                  <c:v>3219.54</c:v>
                </c:pt>
                <c:pt idx="16">
                  <c:v>58090.78</c:v>
                </c:pt>
                <c:pt idx="17">
                  <c:v>3462.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091.2831"/>
          <c:min val="941.731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3</c:v>
                </c:pt>
                <c:pt idx="2">
                  <c:v>IX 91</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IX 100</c:v>
                </c:pt>
                <c:pt idx="28">
                  <c:v/>
                </c:pt>
              </c:strCache>
            </c:strRef>
          </c:cat>
          <c:val>
            <c:numRef>
              <c:f>Sheet1!$B$2:$B$30</c:f>
              <c:numCache>
                <c:formatCode>General</c:formatCode>
                <c:ptCount val="29"/>
                <c:pt idx="0">
                  <c:v>6377.3</c:v>
                </c:pt>
                <c:pt idx="1">
                  <c:v>1491.91</c:v>
                </c:pt>
                <c:pt idx="2">
                  <c:v>1538.7</c:v>
                </c:pt>
                <c:pt idx="3">
                  <c:v>13287.08</c:v>
                </c:pt>
                <c:pt idx="4">
                  <c:v>5246.68</c:v>
                </c:pt>
                <c:pt idx="5">
                  <c:v>1636.75</c:v>
                </c:pt>
                <c:pt idx="6">
                  <c:v>5283.36</c:v>
                </c:pt>
                <c:pt idx="7">
                  <c:v>1336.83</c:v>
                </c:pt>
                <c:pt idx="8">
                  <c:v>984.98</c:v>
                </c:pt>
                <c:pt idx="9">
                  <c:v>1605.12</c:v>
                </c:pt>
                <c:pt idx="10">
                  <c:v>3984.43</c:v>
                </c:pt>
                <c:pt idx="11">
                  <c:v>9735.82</c:v>
                </c:pt>
                <c:pt idx="12">
                  <c:v>49967.45</c:v>
                </c:pt>
                <c:pt idx="13">
                  <c:v>1692.29</c:v>
                </c:pt>
                <c:pt idx="14">
                  <c:v>2940.19</c:v>
                </c:pt>
                <c:pt idx="15">
                  <c:v>7675.79</c:v>
                </c:pt>
                <c:pt idx="16">
                  <c:v>3578.71</c:v>
                </c:pt>
                <c:pt idx="17">
                  <c:v>6770.53</c:v>
                </c:pt>
                <c:pt idx="18">
                  <c:v>22286.91</c:v>
                </c:pt>
                <c:pt idx="19">
                  <c:v>16724.28</c:v>
                </c:pt>
                <c:pt idx="20">
                  <c:v>1579.88</c:v>
                </c:pt>
                <c:pt idx="21">
                  <c:v>1819.28</c:v>
                </c:pt>
                <c:pt idx="22">
                  <c:v>1349.76</c:v>
                </c:pt>
                <c:pt idx="23">
                  <c:v>2842.84</c:v>
                </c:pt>
                <c:pt idx="24">
                  <c:v>2802.06</c:v>
                </c:pt>
                <c:pt idx="25">
                  <c:v>16539.33</c:v>
                </c:pt>
                <c:pt idx="26">
                  <c:v>14969.5</c:v>
                </c:pt>
                <c:pt idx="27">
                  <c:v>141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3</a:t>
                    </a:r>
                  </a:p>
                  <a:p>
                    <a:r>
                      <a:t>1237.96</a:t>
                    </a:r>
                  </a:p>
                </c:rich>
              </c:tx>
              <c:dLblPos val="l"/>
              <c:showLegendKey val="0"/>
              <c:showVal val="1"/>
              <c:showCatName val="0"/>
              <c:showSerName val="0"/>
              <c:showPercent val="0"/>
              <c:showBubbleSize val="0"/>
            </c:dLbl>
            <c:dLbl>
              <c:idx val="2"/>
              <c:tx>
                <c:rich>
                  <a:bodyPr/>
                  <a:lstStyle/>
                  <a:p>
                    <a:r>
                      <a:t>IX 91</a:t>
                    </a:r>
                  </a:p>
                  <a:p>
                    <a:r>
                      <a:t>1378.4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IX 100</a:t>
                    </a:r>
                  </a:p>
                  <a:p>
                    <a:r>
                      <a:t>1301.41</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None</a:t>
                    </a:r>
                  </a:p>
                  <a:p>
                    <a:r>
                      <a:t>None</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dLbl>
              <c:idx val="24"/>
              <c:tx>
                <c:rich>
                  <a:bodyPr/>
                  <a:lstStyle/>
                  <a:p>
                    <a:r>
                      <a:t>None</a:t>
                    </a:r>
                  </a:p>
                  <a:p>
                    <a:r>
                      <a:t>None</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dLbl>
              <c:idx val="26"/>
              <c:tx>
                <c:rich>
                  <a:bodyPr/>
                  <a:lstStyle/>
                  <a:p>
                    <a:r>
                      <a:t>None</a:t>
                    </a:r>
                  </a:p>
                  <a:p>
                    <a:r>
                      <a:t>None</a:t>
                    </a:r>
                  </a:p>
                </c:rich>
              </c:tx>
              <c:dLblPos val="l"/>
              <c:showLegendKey val="0"/>
              <c:showVal val="1"/>
              <c:showCatName val="0"/>
              <c:showSerName val="0"/>
              <c:showPercent val="0"/>
              <c:showBubbleSize val="0"/>
            </c:dLbl>
            <c:dLbl>
              <c:idx val="27"/>
              <c:tx>
                <c:rich>
                  <a:bodyPr/>
                  <a:lstStyle/>
                  <a:p>
                    <a:r>
                      <a:t>IX 100</a:t>
                    </a:r>
                  </a:p>
                  <a:p>
                    <a:r>
                      <a:t>1415.5</a:t>
                    </a:r>
                  </a:p>
                </c:rich>
              </c:tx>
              <c:dLblPos val="l"/>
              <c:showLegendKey val="0"/>
              <c:showVal val="1"/>
              <c:showCatName val="0"/>
              <c:showSerName val="0"/>
              <c:showPercent val="0"/>
              <c:showBubbleSize val="0"/>
            </c:dLbl>
            <c:dLbl>
              <c:idx val="28"/>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3</c:v>
                </c:pt>
                <c:pt idx="2">
                  <c:v>IX 91</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IX 100</c:v>
                </c:pt>
                <c:pt idx="28">
                  <c:v/>
                </c:pt>
              </c:strCache>
            </c:strRef>
          </c:cat>
          <c:val>
            <c:numRef>
              <c:f>Sheet1!$C$2:$C$30</c:f>
              <c:numCache>
                <c:formatCode>General</c:formatCode>
                <c:ptCount val="29"/>
                <c:pt idx="1">
                  <c:v>1237.96</c:v>
                </c:pt>
                <c:pt idx="2">
                  <c:v>1378.44</c:v>
                </c:pt>
                <c:pt idx="7">
                  <c:v>1301.41</c:v>
                </c:pt>
                <c:pt idx="27">
                  <c:v>141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3</c:v>
                </c:pt>
                <c:pt idx="2">
                  <c:v>IX 91</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IX 100</c:v>
                </c:pt>
                <c:pt idx="28">
                  <c:v/>
                </c:pt>
              </c:strCache>
            </c:strRef>
          </c:cat>
          <c:val>
            <c:numRef>
              <c:f>Sheet1!$D$2:$D$30</c:f>
              <c:numCache>
                <c:formatCode>General</c:formatCode>
                <c:ptCount val="29"/>
                <c:pt idx="0">
                  <c:v>12566.54</c:v>
                </c:pt>
                <c:pt idx="3">
                  <c:v>13278.62</c:v>
                </c:pt>
                <c:pt idx="4">
                  <c:v>2595.38</c:v>
                </c:pt>
                <c:pt idx="6">
                  <c:v>7590.45</c:v>
                </c:pt>
                <c:pt idx="10">
                  <c:v>3216.7</c:v>
                </c:pt>
                <c:pt idx="12">
                  <c:v>49849.84</c:v>
                </c:pt>
                <c:pt idx="16">
                  <c:v>2720.0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3</c:v>
                </c:pt>
                <c:pt idx="2">
                  <c:v>IX 91</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IX 100</c:v>
                </c:pt>
                <c:pt idx="28">
                  <c:v/>
                </c:pt>
              </c:strCache>
            </c:strRef>
          </c:cat>
          <c:val>
            <c:numRef>
              <c:f>Sheet1!$E$2:$E$30</c:f>
              <c:numCache>
                <c:formatCode>General</c:formatCode>
                <c:ptCount val="29"/>
                <c:pt idx="0">
                  <c:v>11899.78</c:v>
                </c:pt>
                <c:pt idx="3">
                  <c:v>12500.88</c:v>
                </c:pt>
                <c:pt idx="4">
                  <c:v>11613.59</c:v>
                </c:pt>
                <c:pt idx="6">
                  <c:v>7423.66</c:v>
                </c:pt>
                <c:pt idx="10">
                  <c:v>6394.48</c:v>
                </c:pt>
                <c:pt idx="14">
                  <c:v>4924.78</c:v>
                </c:pt>
                <c:pt idx="16">
                  <c:v>4355.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3</c:v>
                </c:pt>
                <c:pt idx="2">
                  <c:v>IX 91</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IX 100</c:v>
                </c:pt>
                <c:pt idx="28">
                  <c:v/>
                </c:pt>
              </c:strCache>
            </c:strRef>
          </c:cat>
          <c:val>
            <c:numRef>
              <c:f>Sheet1!$F$2:$F$30</c:f>
              <c:numCache>
                <c:formatCode>General</c:formatCode>
                <c:ptCount val="29"/>
                <c:pt idx="1">
                  <c:v>2851.92</c:v>
                </c:pt>
                <c:pt idx="2">
                  <c:v>1513.62</c:v>
                </c:pt>
                <c:pt idx="5">
                  <c:v>1632.04</c:v>
                </c:pt>
                <c:pt idx="13">
                  <c:v>656.93</c:v>
                </c:pt>
                <c:pt idx="15">
                  <c:v>7754.5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967.951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1</c:v>
                </c:pt>
                <c:pt idx="2">
                  <c:v>IX 93</c:v>
                </c:pt>
                <c:pt idx="3">
                  <c:v/>
                </c:pt>
                <c:pt idx="4">
                  <c:v/>
                </c:pt>
                <c:pt idx="5">
                  <c:v/>
                </c:pt>
                <c:pt idx="6">
                  <c:v/>
                </c:pt>
                <c:pt idx="7">
                  <c:v>IX 100</c:v>
                </c:pt>
                <c:pt idx="8">
                  <c:v>IX 100</c:v>
                </c:pt>
                <c:pt idx="9">
                  <c:v>IX 100</c:v>
                </c:pt>
                <c:pt idx="10">
                  <c:v/>
                </c:pt>
                <c:pt idx="11">
                  <c:v/>
                </c:pt>
                <c:pt idx="12">
                  <c:v/>
                </c:pt>
                <c:pt idx="13">
                  <c:v>IX 100</c:v>
                </c:pt>
                <c:pt idx="14">
                  <c:v/>
                </c:pt>
                <c:pt idx="15">
                  <c:v>IX 76</c:v>
                </c:pt>
                <c:pt idx="16">
                  <c:v/>
                </c:pt>
                <c:pt idx="17">
                  <c:v/>
                </c:pt>
                <c:pt idx="18">
                  <c:v/>
                </c:pt>
                <c:pt idx="19">
                  <c:v/>
                </c:pt>
                <c:pt idx="20">
                  <c:v>IX 100</c:v>
                </c:pt>
                <c:pt idx="21">
                  <c:v>IX 100</c:v>
                </c:pt>
                <c:pt idx="22">
                  <c:v>IX 100</c:v>
                </c:pt>
                <c:pt idx="23">
                  <c:v>IX 100</c:v>
                </c:pt>
                <c:pt idx="24">
                  <c:v>IX 100</c:v>
                </c:pt>
                <c:pt idx="25">
                  <c:v/>
                </c:pt>
                <c:pt idx="26">
                  <c:v/>
                </c:pt>
                <c:pt idx="27">
                  <c:v/>
                </c:pt>
                <c:pt idx="28">
                  <c:v/>
                </c:pt>
              </c:strCache>
            </c:strRef>
          </c:cat>
          <c:val>
            <c:numRef>
              <c:f>Sheet1!$B$2:$B$30</c:f>
              <c:numCache>
                <c:formatCode>General</c:formatCode>
                <c:ptCount val="29"/>
                <c:pt idx="0">
                  <c:v>6377.3</c:v>
                </c:pt>
                <c:pt idx="1">
                  <c:v>1491.91</c:v>
                </c:pt>
                <c:pt idx="2">
                  <c:v>1538.7</c:v>
                </c:pt>
                <c:pt idx="3">
                  <c:v>13287.08</c:v>
                </c:pt>
                <c:pt idx="4">
                  <c:v>5246.68</c:v>
                </c:pt>
                <c:pt idx="5">
                  <c:v>1636.75</c:v>
                </c:pt>
                <c:pt idx="6">
                  <c:v>5283.36</c:v>
                </c:pt>
                <c:pt idx="7">
                  <c:v>1336.83</c:v>
                </c:pt>
                <c:pt idx="8">
                  <c:v>984.98</c:v>
                </c:pt>
                <c:pt idx="9">
                  <c:v>1605.12</c:v>
                </c:pt>
                <c:pt idx="10">
                  <c:v>3984.43</c:v>
                </c:pt>
                <c:pt idx="11">
                  <c:v>9735.82</c:v>
                </c:pt>
                <c:pt idx="12">
                  <c:v>49967.45</c:v>
                </c:pt>
                <c:pt idx="13">
                  <c:v>1692.29</c:v>
                </c:pt>
                <c:pt idx="14">
                  <c:v>2940.19</c:v>
                </c:pt>
                <c:pt idx="15">
                  <c:v>7675.79</c:v>
                </c:pt>
                <c:pt idx="16">
                  <c:v>3578.71</c:v>
                </c:pt>
                <c:pt idx="17">
                  <c:v>6770.53</c:v>
                </c:pt>
                <c:pt idx="18">
                  <c:v>22286.91</c:v>
                </c:pt>
                <c:pt idx="19">
                  <c:v>16724.28</c:v>
                </c:pt>
                <c:pt idx="20">
                  <c:v>1579.88</c:v>
                </c:pt>
                <c:pt idx="21">
                  <c:v>1819.28</c:v>
                </c:pt>
                <c:pt idx="22">
                  <c:v>1349.76</c:v>
                </c:pt>
                <c:pt idx="23">
                  <c:v>2842.84</c:v>
                </c:pt>
                <c:pt idx="24">
                  <c:v>2802.06</c:v>
                </c:pt>
                <c:pt idx="25">
                  <c:v>16539.33</c:v>
                </c:pt>
                <c:pt idx="26">
                  <c:v>14969.5</c:v>
                </c:pt>
                <c:pt idx="27">
                  <c:v>141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1</a:t>
                    </a:r>
                  </a:p>
                  <a:p>
                    <a:r>
                      <a:t>1177.12</a:t>
                    </a:r>
                  </a:p>
                </c:rich>
              </c:tx>
              <c:dLblPos val="l"/>
              <c:showLegendKey val="0"/>
              <c:showVal val="1"/>
              <c:showCatName val="0"/>
              <c:showSerName val="0"/>
              <c:showPercent val="0"/>
              <c:showBubbleSize val="0"/>
            </c:dLbl>
            <c:dLbl>
              <c:idx val="2"/>
              <c:tx>
                <c:rich>
                  <a:bodyPr/>
                  <a:lstStyle/>
                  <a:p>
                    <a:r>
                      <a:t>IX 93</a:t>
                    </a:r>
                  </a:p>
                  <a:p>
                    <a:r>
                      <a:t>1413.6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IX 100</a:t>
                    </a:r>
                  </a:p>
                  <a:p>
                    <a:r>
                      <a:t>1437.46</a:t>
                    </a:r>
                  </a:p>
                </c:rich>
              </c:tx>
              <c:dLblPos val="l"/>
              <c:showLegendKey val="0"/>
              <c:showVal val="1"/>
              <c:showCatName val="0"/>
              <c:showSerName val="0"/>
              <c:showPercent val="0"/>
              <c:showBubbleSize val="0"/>
            </c:dLbl>
            <c:dLbl>
              <c:idx val="8"/>
              <c:tx>
                <c:rich>
                  <a:bodyPr/>
                  <a:lstStyle/>
                  <a:p>
                    <a:r>
                      <a:t>IX 100</a:t>
                    </a:r>
                  </a:p>
                  <a:p>
                    <a:r>
                      <a:t>1217.12</a:t>
                    </a:r>
                  </a:p>
                </c:rich>
              </c:tx>
              <c:dLblPos val="l"/>
              <c:showLegendKey val="0"/>
              <c:showVal val="1"/>
              <c:showCatName val="0"/>
              <c:showSerName val="0"/>
              <c:showPercent val="0"/>
              <c:showBubbleSize val="0"/>
            </c:dLbl>
            <c:dLbl>
              <c:idx val="9"/>
              <c:tx>
                <c:rich>
                  <a:bodyPr/>
                  <a:lstStyle/>
                  <a:p>
                    <a:r>
                      <a:t>IX 100</a:t>
                    </a:r>
                  </a:p>
                  <a:p>
                    <a:r>
                      <a:t>1556.25</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IX 100</a:t>
                    </a:r>
                  </a:p>
                  <a:p>
                    <a:r>
                      <a:t>1716.02</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IX 76</a:t>
                    </a:r>
                  </a:p>
                  <a:p>
                    <a:r>
                      <a:t>5859.0</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IX 100</a:t>
                    </a:r>
                  </a:p>
                  <a:p>
                    <a:r>
                      <a:t>1264.23</a:t>
                    </a:r>
                  </a:p>
                </c:rich>
              </c:tx>
              <c:dLblPos val="l"/>
              <c:showLegendKey val="0"/>
              <c:showVal val="1"/>
              <c:showCatName val="0"/>
              <c:showSerName val="0"/>
              <c:showPercent val="0"/>
              <c:showBubbleSize val="0"/>
            </c:dLbl>
            <c:dLbl>
              <c:idx val="21"/>
              <c:tx>
                <c:rich>
                  <a:bodyPr/>
                  <a:lstStyle/>
                  <a:p>
                    <a:r>
                      <a:t>IX 100</a:t>
                    </a:r>
                  </a:p>
                  <a:p>
                    <a:r>
                      <a:t>11079.5</a:t>
                    </a:r>
                  </a:p>
                </c:rich>
              </c:tx>
              <c:dLblPos val="l"/>
              <c:showLegendKey val="0"/>
              <c:showVal val="1"/>
              <c:showCatName val="0"/>
              <c:showSerName val="0"/>
              <c:showPercent val="0"/>
              <c:showBubbleSize val="0"/>
            </c:dLbl>
            <c:dLbl>
              <c:idx val="22"/>
              <c:tx>
                <c:rich>
                  <a:bodyPr/>
                  <a:lstStyle/>
                  <a:p>
                    <a:r>
                      <a:t>IX 100</a:t>
                    </a:r>
                  </a:p>
                  <a:p>
                    <a:r>
                      <a:t>1149.49</a:t>
                    </a:r>
                  </a:p>
                </c:rich>
              </c:tx>
              <c:dLblPos val="l"/>
              <c:showLegendKey val="0"/>
              <c:showVal val="1"/>
              <c:showCatName val="0"/>
              <c:showSerName val="0"/>
              <c:showPercent val="0"/>
              <c:showBubbleSize val="0"/>
            </c:dLbl>
            <c:dLbl>
              <c:idx val="23"/>
              <c:tx>
                <c:rich>
                  <a:bodyPr/>
                  <a:lstStyle/>
                  <a:p>
                    <a:r>
                      <a:t>IX 100</a:t>
                    </a:r>
                  </a:p>
                  <a:p>
                    <a:r>
                      <a:t>2842.84</a:t>
                    </a:r>
                  </a:p>
                </c:rich>
              </c:tx>
              <c:dLblPos val="l"/>
              <c:showLegendKey val="0"/>
              <c:showVal val="1"/>
              <c:showCatName val="0"/>
              <c:showSerName val="0"/>
              <c:showPercent val="0"/>
              <c:showBubbleSize val="0"/>
            </c:dLbl>
            <c:dLbl>
              <c:idx val="24"/>
              <c:tx>
                <c:rich>
                  <a:bodyPr/>
                  <a:lstStyle/>
                  <a:p>
                    <a:r>
                      <a:t>IX 100</a:t>
                    </a:r>
                  </a:p>
                  <a:p>
                    <a:r>
                      <a:t>2802.06</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dLbl>
              <c:idx val="26"/>
              <c:tx>
                <c:rich>
                  <a:bodyPr/>
                  <a:lstStyle/>
                  <a:p>
                    <a:r>
                      <a:t>None</a:t>
                    </a:r>
                  </a:p>
                  <a:p>
                    <a:r>
                      <a:t>None</a:t>
                    </a:r>
                  </a:p>
                </c:rich>
              </c:tx>
              <c:dLblPos val="l"/>
              <c:showLegendKey val="0"/>
              <c:showVal val="1"/>
              <c:showCatName val="0"/>
              <c:showSerName val="0"/>
              <c:showPercent val="0"/>
              <c:showBubbleSize val="0"/>
            </c:dLbl>
            <c:dLbl>
              <c:idx val="27"/>
              <c:tx>
                <c:rich>
                  <a:bodyPr/>
                  <a:lstStyle/>
                  <a:p>
                    <a:r>
                      <a:t>None</a:t>
                    </a:r>
                  </a:p>
                  <a:p>
                    <a:r>
                      <a:t>None</a:t>
                    </a:r>
                  </a:p>
                </c:rich>
              </c:tx>
              <c:dLblPos val="l"/>
              <c:showLegendKey val="0"/>
              <c:showVal val="1"/>
              <c:showCatName val="0"/>
              <c:showSerName val="0"/>
              <c:showPercent val="0"/>
              <c:showBubbleSize val="0"/>
            </c:dLbl>
            <c:dLbl>
              <c:idx val="28"/>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1</c:v>
                </c:pt>
                <c:pt idx="2">
                  <c:v>IX 93</c:v>
                </c:pt>
                <c:pt idx="3">
                  <c:v/>
                </c:pt>
                <c:pt idx="4">
                  <c:v/>
                </c:pt>
                <c:pt idx="5">
                  <c:v/>
                </c:pt>
                <c:pt idx="6">
                  <c:v/>
                </c:pt>
                <c:pt idx="7">
                  <c:v>IX 100</c:v>
                </c:pt>
                <c:pt idx="8">
                  <c:v>IX 100</c:v>
                </c:pt>
                <c:pt idx="9">
                  <c:v>IX 100</c:v>
                </c:pt>
                <c:pt idx="10">
                  <c:v/>
                </c:pt>
                <c:pt idx="11">
                  <c:v/>
                </c:pt>
                <c:pt idx="12">
                  <c:v/>
                </c:pt>
                <c:pt idx="13">
                  <c:v>IX 100</c:v>
                </c:pt>
                <c:pt idx="14">
                  <c:v/>
                </c:pt>
                <c:pt idx="15">
                  <c:v>IX 76</c:v>
                </c:pt>
                <c:pt idx="16">
                  <c:v/>
                </c:pt>
                <c:pt idx="17">
                  <c:v/>
                </c:pt>
                <c:pt idx="18">
                  <c:v/>
                </c:pt>
                <c:pt idx="19">
                  <c:v/>
                </c:pt>
                <c:pt idx="20">
                  <c:v>IX 100</c:v>
                </c:pt>
                <c:pt idx="21">
                  <c:v>IX 100</c:v>
                </c:pt>
                <c:pt idx="22">
                  <c:v>IX 100</c:v>
                </c:pt>
                <c:pt idx="23">
                  <c:v>IX 100</c:v>
                </c:pt>
                <c:pt idx="24">
                  <c:v>IX 100</c:v>
                </c:pt>
                <c:pt idx="25">
                  <c:v/>
                </c:pt>
                <c:pt idx="26">
                  <c:v/>
                </c:pt>
                <c:pt idx="27">
                  <c:v/>
                </c:pt>
                <c:pt idx="28">
                  <c:v/>
                </c:pt>
              </c:strCache>
            </c:strRef>
          </c:cat>
          <c:val>
            <c:numRef>
              <c:f>Sheet1!$C$2:$C$30</c:f>
              <c:numCache>
                <c:formatCode>General</c:formatCode>
                <c:ptCount val="29"/>
                <c:pt idx="1">
                  <c:v>1177.12</c:v>
                </c:pt>
                <c:pt idx="2">
                  <c:v>1413.68</c:v>
                </c:pt>
                <c:pt idx="7">
                  <c:v>1437.46</c:v>
                </c:pt>
                <c:pt idx="8">
                  <c:v>1217.12</c:v>
                </c:pt>
                <c:pt idx="9">
                  <c:v>1556.25</c:v>
                </c:pt>
                <c:pt idx="13">
                  <c:v>1716.02</c:v>
                </c:pt>
                <c:pt idx="15">
                  <c:v>5859.0</c:v>
                </c:pt>
                <c:pt idx="20">
                  <c:v>1264.23</c:v>
                </c:pt>
                <c:pt idx="21">
                  <c:v>11079.5</c:v>
                </c:pt>
                <c:pt idx="22">
                  <c:v>1149.49</c:v>
                </c:pt>
                <c:pt idx="23">
                  <c:v>2842.84</c:v>
                </c:pt>
                <c:pt idx="24">
                  <c:v>2802.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1</c:v>
                </c:pt>
                <c:pt idx="2">
                  <c:v>IX 93</c:v>
                </c:pt>
                <c:pt idx="3">
                  <c:v/>
                </c:pt>
                <c:pt idx="4">
                  <c:v/>
                </c:pt>
                <c:pt idx="5">
                  <c:v/>
                </c:pt>
                <c:pt idx="6">
                  <c:v/>
                </c:pt>
                <c:pt idx="7">
                  <c:v>IX 100</c:v>
                </c:pt>
                <c:pt idx="8">
                  <c:v>IX 100</c:v>
                </c:pt>
                <c:pt idx="9">
                  <c:v>IX 100</c:v>
                </c:pt>
                <c:pt idx="10">
                  <c:v/>
                </c:pt>
                <c:pt idx="11">
                  <c:v/>
                </c:pt>
                <c:pt idx="12">
                  <c:v/>
                </c:pt>
                <c:pt idx="13">
                  <c:v>IX 100</c:v>
                </c:pt>
                <c:pt idx="14">
                  <c:v/>
                </c:pt>
                <c:pt idx="15">
                  <c:v>IX 76</c:v>
                </c:pt>
                <c:pt idx="16">
                  <c:v/>
                </c:pt>
                <c:pt idx="17">
                  <c:v/>
                </c:pt>
                <c:pt idx="18">
                  <c:v/>
                </c:pt>
                <c:pt idx="19">
                  <c:v/>
                </c:pt>
                <c:pt idx="20">
                  <c:v>IX 100</c:v>
                </c:pt>
                <c:pt idx="21">
                  <c:v>IX 100</c:v>
                </c:pt>
                <c:pt idx="22">
                  <c:v>IX 100</c:v>
                </c:pt>
                <c:pt idx="23">
                  <c:v>IX 100</c:v>
                </c:pt>
                <c:pt idx="24">
                  <c:v>IX 100</c:v>
                </c:pt>
                <c:pt idx="25">
                  <c:v/>
                </c:pt>
                <c:pt idx="26">
                  <c:v/>
                </c:pt>
                <c:pt idx="27">
                  <c:v/>
                </c:pt>
                <c:pt idx="28">
                  <c:v/>
                </c:pt>
              </c:strCache>
            </c:strRef>
          </c:cat>
          <c:val>
            <c:numRef>
              <c:f>Sheet1!$D$2:$D$30</c:f>
              <c:numCache>
                <c:formatCode>General</c:formatCode>
                <c:ptCount val="29"/>
                <c:pt idx="0">
                  <c:v>12566.54</c:v>
                </c:pt>
                <c:pt idx="3">
                  <c:v>13278.62</c:v>
                </c:pt>
                <c:pt idx="4">
                  <c:v>2595.38</c:v>
                </c:pt>
                <c:pt idx="6">
                  <c:v>7590.45</c:v>
                </c:pt>
                <c:pt idx="10">
                  <c:v>3216.7</c:v>
                </c:pt>
                <c:pt idx="12">
                  <c:v>49849.84</c:v>
                </c:pt>
                <c:pt idx="16">
                  <c:v>2720.0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1</c:v>
                </c:pt>
                <c:pt idx="2">
                  <c:v>IX 93</c:v>
                </c:pt>
                <c:pt idx="3">
                  <c:v/>
                </c:pt>
                <c:pt idx="4">
                  <c:v/>
                </c:pt>
                <c:pt idx="5">
                  <c:v/>
                </c:pt>
                <c:pt idx="6">
                  <c:v/>
                </c:pt>
                <c:pt idx="7">
                  <c:v>IX 100</c:v>
                </c:pt>
                <c:pt idx="8">
                  <c:v>IX 100</c:v>
                </c:pt>
                <c:pt idx="9">
                  <c:v>IX 100</c:v>
                </c:pt>
                <c:pt idx="10">
                  <c:v/>
                </c:pt>
                <c:pt idx="11">
                  <c:v/>
                </c:pt>
                <c:pt idx="12">
                  <c:v/>
                </c:pt>
                <c:pt idx="13">
                  <c:v>IX 100</c:v>
                </c:pt>
                <c:pt idx="14">
                  <c:v/>
                </c:pt>
                <c:pt idx="15">
                  <c:v>IX 76</c:v>
                </c:pt>
                <c:pt idx="16">
                  <c:v/>
                </c:pt>
                <c:pt idx="17">
                  <c:v/>
                </c:pt>
                <c:pt idx="18">
                  <c:v/>
                </c:pt>
                <c:pt idx="19">
                  <c:v/>
                </c:pt>
                <c:pt idx="20">
                  <c:v>IX 100</c:v>
                </c:pt>
                <c:pt idx="21">
                  <c:v>IX 100</c:v>
                </c:pt>
                <c:pt idx="22">
                  <c:v>IX 100</c:v>
                </c:pt>
                <c:pt idx="23">
                  <c:v>IX 100</c:v>
                </c:pt>
                <c:pt idx="24">
                  <c:v>IX 100</c:v>
                </c:pt>
                <c:pt idx="25">
                  <c:v/>
                </c:pt>
                <c:pt idx="26">
                  <c:v/>
                </c:pt>
                <c:pt idx="27">
                  <c:v/>
                </c:pt>
                <c:pt idx="28">
                  <c:v/>
                </c:pt>
              </c:strCache>
            </c:strRef>
          </c:cat>
          <c:val>
            <c:numRef>
              <c:f>Sheet1!$E$2:$E$30</c:f>
              <c:numCache>
                <c:formatCode>General</c:formatCode>
                <c:ptCount val="29"/>
                <c:pt idx="0">
                  <c:v>11899.78</c:v>
                </c:pt>
                <c:pt idx="3">
                  <c:v>12500.88</c:v>
                </c:pt>
                <c:pt idx="4">
                  <c:v>11613.59</c:v>
                </c:pt>
                <c:pt idx="6">
                  <c:v>7423.66</c:v>
                </c:pt>
                <c:pt idx="10">
                  <c:v>6394.48</c:v>
                </c:pt>
                <c:pt idx="14">
                  <c:v>4924.78</c:v>
                </c:pt>
                <c:pt idx="16">
                  <c:v>4355.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IX 41</c:v>
                </c:pt>
                <c:pt idx="2">
                  <c:v>IX 93</c:v>
                </c:pt>
                <c:pt idx="3">
                  <c:v/>
                </c:pt>
                <c:pt idx="4">
                  <c:v/>
                </c:pt>
                <c:pt idx="5">
                  <c:v/>
                </c:pt>
                <c:pt idx="6">
                  <c:v/>
                </c:pt>
                <c:pt idx="7">
                  <c:v>IX 100</c:v>
                </c:pt>
                <c:pt idx="8">
                  <c:v>IX 100</c:v>
                </c:pt>
                <c:pt idx="9">
                  <c:v>IX 100</c:v>
                </c:pt>
                <c:pt idx="10">
                  <c:v/>
                </c:pt>
                <c:pt idx="11">
                  <c:v/>
                </c:pt>
                <c:pt idx="12">
                  <c:v/>
                </c:pt>
                <c:pt idx="13">
                  <c:v>IX 100</c:v>
                </c:pt>
                <c:pt idx="14">
                  <c:v/>
                </c:pt>
                <c:pt idx="15">
                  <c:v>IX 76</c:v>
                </c:pt>
                <c:pt idx="16">
                  <c:v/>
                </c:pt>
                <c:pt idx="17">
                  <c:v/>
                </c:pt>
                <c:pt idx="18">
                  <c:v/>
                </c:pt>
                <c:pt idx="19">
                  <c:v/>
                </c:pt>
                <c:pt idx="20">
                  <c:v>IX 100</c:v>
                </c:pt>
                <c:pt idx="21">
                  <c:v>IX 100</c:v>
                </c:pt>
                <c:pt idx="22">
                  <c:v>IX 100</c:v>
                </c:pt>
                <c:pt idx="23">
                  <c:v>IX 100</c:v>
                </c:pt>
                <c:pt idx="24">
                  <c:v>IX 100</c:v>
                </c:pt>
                <c:pt idx="25">
                  <c:v/>
                </c:pt>
                <c:pt idx="26">
                  <c:v/>
                </c:pt>
                <c:pt idx="27">
                  <c:v/>
                </c:pt>
                <c:pt idx="28">
                  <c:v/>
                </c:pt>
              </c:strCache>
            </c:strRef>
          </c:cat>
          <c:val>
            <c:numRef>
              <c:f>Sheet1!$F$2:$F$30</c:f>
              <c:numCache>
                <c:formatCode>General</c:formatCode>
                <c:ptCount val="29"/>
                <c:pt idx="1">
                  <c:v>2851.92</c:v>
                </c:pt>
                <c:pt idx="2">
                  <c:v>1513.62</c:v>
                </c:pt>
                <c:pt idx="5">
                  <c:v>1632.04</c:v>
                </c:pt>
                <c:pt idx="13">
                  <c:v>656.93</c:v>
                </c:pt>
                <c:pt idx="15">
                  <c:v>7754.5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967.951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
                </c:pt>
                <c:pt idx="2">
                  <c:v>IX 311</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
                </c:pt>
                <c:pt idx="28">
                  <c:v/>
                </c:pt>
              </c:strCache>
            </c:strRef>
          </c:cat>
          <c:val>
            <c:numRef>
              <c:f>Sheet1!$B$2:$B$30</c:f>
              <c:numCache>
                <c:formatCode>General</c:formatCode>
                <c:ptCount val="29"/>
                <c:pt idx="0">
                  <c:v>6377.3</c:v>
                </c:pt>
                <c:pt idx="1">
                  <c:v>1491.91</c:v>
                </c:pt>
                <c:pt idx="2">
                  <c:v>1538.7</c:v>
                </c:pt>
                <c:pt idx="3">
                  <c:v>13287.08</c:v>
                </c:pt>
                <c:pt idx="4">
                  <c:v>5246.68</c:v>
                </c:pt>
                <c:pt idx="5">
                  <c:v>1636.75</c:v>
                </c:pt>
                <c:pt idx="6">
                  <c:v>5283.36</c:v>
                </c:pt>
                <c:pt idx="7">
                  <c:v>1336.83</c:v>
                </c:pt>
                <c:pt idx="8">
                  <c:v>984.98</c:v>
                </c:pt>
                <c:pt idx="9">
                  <c:v>1605.12</c:v>
                </c:pt>
                <c:pt idx="10">
                  <c:v>3984.43</c:v>
                </c:pt>
                <c:pt idx="11">
                  <c:v>9735.82</c:v>
                </c:pt>
                <c:pt idx="12">
                  <c:v>49967.45</c:v>
                </c:pt>
                <c:pt idx="13">
                  <c:v>1692.29</c:v>
                </c:pt>
                <c:pt idx="14">
                  <c:v>2940.19</c:v>
                </c:pt>
                <c:pt idx="15">
                  <c:v>7675.79</c:v>
                </c:pt>
                <c:pt idx="16">
                  <c:v>3578.71</c:v>
                </c:pt>
                <c:pt idx="17">
                  <c:v>6770.53</c:v>
                </c:pt>
                <c:pt idx="18">
                  <c:v>22286.91</c:v>
                </c:pt>
                <c:pt idx="19">
                  <c:v>16724.28</c:v>
                </c:pt>
                <c:pt idx="20">
                  <c:v>1579.88</c:v>
                </c:pt>
                <c:pt idx="21">
                  <c:v>1819.28</c:v>
                </c:pt>
                <c:pt idx="22">
                  <c:v>1349.76</c:v>
                </c:pt>
                <c:pt idx="23">
                  <c:v>2842.84</c:v>
                </c:pt>
                <c:pt idx="24">
                  <c:v>2802.06</c:v>
                </c:pt>
                <c:pt idx="25">
                  <c:v>16539.33</c:v>
                </c:pt>
                <c:pt idx="26">
                  <c:v>14969.5</c:v>
                </c:pt>
                <c:pt idx="27">
                  <c:v>141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311</a:t>
                    </a:r>
                  </a:p>
                  <a:p>
                    <a:r>
                      <a:t>4702.2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None</a:t>
                    </a:r>
                  </a:p>
                  <a:p>
                    <a:r>
                      <a:t>None</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dLbl>
              <c:idx val="24"/>
              <c:tx>
                <c:rich>
                  <a:bodyPr/>
                  <a:lstStyle/>
                  <a:p>
                    <a:r>
                      <a:t>None</a:t>
                    </a:r>
                  </a:p>
                  <a:p>
                    <a:r>
                      <a:t>None</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dLbl>
              <c:idx val="26"/>
              <c:tx>
                <c:rich>
                  <a:bodyPr/>
                  <a:lstStyle/>
                  <a:p>
                    <a:r>
                      <a:t>None</a:t>
                    </a:r>
                  </a:p>
                  <a:p>
                    <a:r>
                      <a:t>None</a:t>
                    </a:r>
                  </a:p>
                </c:rich>
              </c:tx>
              <c:dLblPos val="l"/>
              <c:showLegendKey val="0"/>
              <c:showVal val="1"/>
              <c:showCatName val="0"/>
              <c:showSerName val="0"/>
              <c:showPercent val="0"/>
              <c:showBubbleSize val="0"/>
            </c:dLbl>
            <c:dLbl>
              <c:idx val="27"/>
              <c:tx>
                <c:rich>
                  <a:bodyPr/>
                  <a:lstStyle/>
                  <a:p>
                    <a:r>
                      <a:t>None</a:t>
                    </a:r>
                  </a:p>
                  <a:p>
                    <a:r>
                      <a:t>None</a:t>
                    </a:r>
                  </a:p>
                </c:rich>
              </c:tx>
              <c:dLblPos val="l"/>
              <c:showLegendKey val="0"/>
              <c:showVal val="1"/>
              <c:showCatName val="0"/>
              <c:showSerName val="0"/>
              <c:showPercent val="0"/>
              <c:showBubbleSize val="0"/>
            </c:dLbl>
            <c:dLbl>
              <c:idx val="28"/>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
                </c:pt>
                <c:pt idx="2">
                  <c:v>IX 311</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
                </c:pt>
                <c:pt idx="28">
                  <c:v/>
                </c:pt>
              </c:strCache>
            </c:strRef>
          </c:cat>
          <c:val>
            <c:numRef>
              <c:f>Sheet1!$C$2:$C$30</c:f>
              <c:numCache>
                <c:formatCode>General</c:formatCode>
                <c:ptCount val="29"/>
                <c:pt idx="2">
                  <c:v>4702.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
                </c:pt>
                <c:pt idx="2">
                  <c:v>IX 311</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
                </c:pt>
                <c:pt idx="28">
                  <c:v/>
                </c:pt>
              </c:strCache>
            </c:strRef>
          </c:cat>
          <c:val>
            <c:numRef>
              <c:f>Sheet1!$D$2:$D$30</c:f>
              <c:numCache>
                <c:formatCode>General</c:formatCode>
                <c:ptCount val="29"/>
                <c:pt idx="0">
                  <c:v>12566.54</c:v>
                </c:pt>
                <c:pt idx="3">
                  <c:v>13278.62</c:v>
                </c:pt>
                <c:pt idx="4">
                  <c:v>2595.38</c:v>
                </c:pt>
                <c:pt idx="6">
                  <c:v>7590.45</c:v>
                </c:pt>
                <c:pt idx="10">
                  <c:v>3216.7</c:v>
                </c:pt>
                <c:pt idx="12">
                  <c:v>49849.84</c:v>
                </c:pt>
                <c:pt idx="16">
                  <c:v>2720.0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
                </c:pt>
                <c:pt idx="2">
                  <c:v>IX 311</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
                </c:pt>
                <c:pt idx="28">
                  <c:v/>
                </c:pt>
              </c:strCache>
            </c:strRef>
          </c:cat>
          <c:val>
            <c:numRef>
              <c:f>Sheet1!$E$2:$E$30</c:f>
              <c:numCache>
                <c:formatCode>General</c:formatCode>
                <c:ptCount val="29"/>
                <c:pt idx="0">
                  <c:v>11899.78</c:v>
                </c:pt>
                <c:pt idx="3">
                  <c:v>12500.88</c:v>
                </c:pt>
                <c:pt idx="4">
                  <c:v>11613.59</c:v>
                </c:pt>
                <c:pt idx="6">
                  <c:v>7423.66</c:v>
                </c:pt>
                <c:pt idx="10">
                  <c:v>6394.48</c:v>
                </c:pt>
                <c:pt idx="14">
                  <c:v>4924.78</c:v>
                </c:pt>
                <c:pt idx="16">
                  <c:v>4355.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
                </c:pt>
                <c:pt idx="1">
                  <c:v/>
                </c:pt>
                <c:pt idx="2">
                  <c:v>IX 311</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pt idx="27">
                  <c:v/>
                </c:pt>
                <c:pt idx="28">
                  <c:v/>
                </c:pt>
              </c:strCache>
            </c:strRef>
          </c:cat>
          <c:val>
            <c:numRef>
              <c:f>Sheet1!$F$2:$F$30</c:f>
              <c:numCache>
                <c:formatCode>General</c:formatCode>
                <c:ptCount val="29"/>
                <c:pt idx="1">
                  <c:v>2851.92</c:v>
                </c:pt>
                <c:pt idx="2">
                  <c:v>1513.62</c:v>
                </c:pt>
                <c:pt idx="5">
                  <c:v>1632.04</c:v>
                </c:pt>
                <c:pt idx="13">
                  <c:v>656.93</c:v>
                </c:pt>
                <c:pt idx="15">
                  <c:v>7754.5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967.951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4</c:v>
                </c:pt>
                <c:pt idx="2">
                  <c:v>IX 91</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B$2:$B$28</c:f>
              <c:numCache>
                <c:formatCode>General</c:formatCode>
                <c:ptCount val="27"/>
                <c:pt idx="0">
                  <c:v>6792.92</c:v>
                </c:pt>
                <c:pt idx="1">
                  <c:v>1539.12</c:v>
                </c:pt>
                <c:pt idx="2">
                  <c:v>1572.19</c:v>
                </c:pt>
                <c:pt idx="3">
                  <c:v>13369.84</c:v>
                </c:pt>
                <c:pt idx="4">
                  <c:v>5228.36</c:v>
                </c:pt>
                <c:pt idx="5">
                  <c:v>1650.93</c:v>
                </c:pt>
                <c:pt idx="6">
                  <c:v>5302.03</c:v>
                </c:pt>
                <c:pt idx="7">
                  <c:v>1370.18</c:v>
                </c:pt>
                <c:pt idx="8">
                  <c:v>1009.21</c:v>
                </c:pt>
                <c:pt idx="9">
                  <c:v>1658.85</c:v>
                </c:pt>
                <c:pt idx="10">
                  <c:v>4049.57</c:v>
                </c:pt>
                <c:pt idx="11">
                  <c:v>9804.89</c:v>
                </c:pt>
                <c:pt idx="12">
                  <c:v>51703.25</c:v>
                </c:pt>
                <c:pt idx="13">
                  <c:v>1748.48</c:v>
                </c:pt>
                <c:pt idx="14">
                  <c:v>2944.52</c:v>
                </c:pt>
                <c:pt idx="15">
                  <c:v>7847.98</c:v>
                </c:pt>
                <c:pt idx="16">
                  <c:v>3539.72</c:v>
                </c:pt>
                <c:pt idx="17">
                  <c:v>6971.58</c:v>
                </c:pt>
                <c:pt idx="18">
                  <c:v>22411.7</c:v>
                </c:pt>
                <c:pt idx="19">
                  <c:v>22363.71</c:v>
                </c:pt>
                <c:pt idx="20">
                  <c:v>1764.95</c:v>
                </c:pt>
                <c:pt idx="21">
                  <c:v>1800.26</c:v>
                </c:pt>
                <c:pt idx="22">
                  <c:v>1556.64</c:v>
                </c:pt>
                <c:pt idx="23">
                  <c:v>2923.82</c:v>
                </c:pt>
                <c:pt idx="24">
                  <c:v>2886.9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4</a:t>
                    </a:r>
                  </a:p>
                  <a:p>
                    <a:r>
                      <a:t>1262.54</a:t>
                    </a:r>
                  </a:p>
                </c:rich>
              </c:tx>
              <c:dLblPos val="l"/>
              <c:showLegendKey val="0"/>
              <c:showVal val="1"/>
              <c:showCatName val="0"/>
              <c:showSerName val="0"/>
              <c:showPercent val="0"/>
              <c:showBubbleSize val="0"/>
            </c:dLbl>
            <c:dLbl>
              <c:idx val="2"/>
              <c:tx>
                <c:rich>
                  <a:bodyPr/>
                  <a:lstStyle/>
                  <a:p>
                    <a:r>
                      <a:t>IX 91</a:t>
                    </a:r>
                  </a:p>
                  <a:p>
                    <a:r>
                      <a:t>1406.4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IX 100</a:t>
                    </a:r>
                  </a:p>
                  <a:p>
                    <a:r>
                      <a:t>1331.04</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None</a:t>
                    </a:r>
                  </a:p>
                  <a:p>
                    <a:r>
                      <a:t>None</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dLbl>
              <c:idx val="24"/>
              <c:tx>
                <c:rich>
                  <a:bodyPr/>
                  <a:lstStyle/>
                  <a:p>
                    <a:r>
                      <a:t>None</a:t>
                    </a:r>
                  </a:p>
                  <a:p>
                    <a:r>
                      <a:t>None</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dLbl>
              <c:idx val="26"/>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4</c:v>
                </c:pt>
                <c:pt idx="2">
                  <c:v>IX 91</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C$2:$C$28</c:f>
              <c:numCache>
                <c:formatCode>General</c:formatCode>
                <c:ptCount val="27"/>
                <c:pt idx="1">
                  <c:v>1262.54</c:v>
                </c:pt>
                <c:pt idx="2">
                  <c:v>1406.42</c:v>
                </c:pt>
                <c:pt idx="7">
                  <c:v>1331.0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4</c:v>
                </c:pt>
                <c:pt idx="2">
                  <c:v>IX 91</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D$2:$D$28</c:f>
              <c:numCache>
                <c:formatCode>General</c:formatCode>
                <c:ptCount val="27"/>
                <c:pt idx="0">
                  <c:v>12532.18</c:v>
                </c:pt>
                <c:pt idx="3">
                  <c:v>12668.21</c:v>
                </c:pt>
                <c:pt idx="4">
                  <c:v>2608.07</c:v>
                </c:pt>
                <c:pt idx="6">
                  <c:v>7405.62</c:v>
                </c:pt>
                <c:pt idx="10">
                  <c:v>3210.89</c:v>
                </c:pt>
                <c:pt idx="12">
                  <c:v>51686.15</c:v>
                </c:pt>
                <c:pt idx="16">
                  <c:v>2690.6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4</c:v>
                </c:pt>
                <c:pt idx="2">
                  <c:v>IX 91</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E$2:$E$28</c:f>
              <c:numCache>
                <c:formatCode>General</c:formatCode>
                <c:ptCount val="27"/>
                <c:pt idx="0">
                  <c:v>12158.3</c:v>
                </c:pt>
                <c:pt idx="3">
                  <c:v>12586.62</c:v>
                </c:pt>
                <c:pt idx="4">
                  <c:v>11787.79</c:v>
                </c:pt>
                <c:pt idx="6">
                  <c:v>7593.71</c:v>
                </c:pt>
                <c:pt idx="10">
                  <c:v>6495.46</c:v>
                </c:pt>
                <c:pt idx="14">
                  <c:v>5147.95</c:v>
                </c:pt>
                <c:pt idx="16">
                  <c:v>4470.3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4</c:v>
                </c:pt>
                <c:pt idx="2">
                  <c:v>IX 91</c:v>
                </c:pt>
                <c:pt idx="3">
                  <c:v/>
                </c:pt>
                <c:pt idx="4">
                  <c:v/>
                </c:pt>
                <c:pt idx="5">
                  <c:v/>
                </c:pt>
                <c:pt idx="6">
                  <c:v/>
                </c:pt>
                <c:pt idx="7">
                  <c:v>IX 100</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F$2:$F$28</c:f>
              <c:numCache>
                <c:formatCode>General</c:formatCode>
                <c:ptCount val="27"/>
                <c:pt idx="1">
                  <c:v>2865.42</c:v>
                </c:pt>
                <c:pt idx="2">
                  <c:v>1539.76</c:v>
                </c:pt>
                <c:pt idx="5">
                  <c:v>1645.28</c:v>
                </c:pt>
                <c:pt idx="15">
                  <c:v>7902.3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703.754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B$2:$B$2</c:f>
              <c:numCache>
                <c:formatCode>General</c:formatCode>
                <c:ptCount val="1"/>
                <c:pt idx="0">
                  <c:v>2435.2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1250.7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C$2:$C$2</c:f>
              <c:numCache>
                <c:formatCode>General</c:formatCode>
                <c:ptCount val="1"/>
                <c:pt idx="0">
                  <c:v>1250.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D$2:$D$2</c:f>
              <c:numCache>
                <c:formatCode>General</c:formatCode>
                <c:ptCount val="1"/>
                <c:pt idx="0">
                  <c:v>1758.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E$2:$E$2</c:f>
              <c:numCache>
                <c:formatCode>General</c:formatCode>
                <c:ptCount val="1"/>
                <c:pt idx="0">
                  <c:v>10539.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F$2:$F$2</c:f>
              <c:numCache>
                <c:formatCode>General</c:formatCode>
                <c:ptCount val="1"/>
                <c:pt idx="0">
                  <c:v>7854.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540.3647"/>
          <c:min val="1250.22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2</c:v>
                </c:pt>
                <c:pt idx="2">
                  <c:v>IX 94</c:v>
                </c:pt>
                <c:pt idx="3">
                  <c:v/>
                </c:pt>
                <c:pt idx="4">
                  <c:v/>
                </c:pt>
                <c:pt idx="5">
                  <c:v/>
                </c:pt>
                <c:pt idx="6">
                  <c:v/>
                </c:pt>
                <c:pt idx="7">
                  <c:v>IX 100</c:v>
                </c:pt>
                <c:pt idx="8">
                  <c:v>IX 100</c:v>
                </c:pt>
                <c:pt idx="9">
                  <c:v>IX 100</c:v>
                </c:pt>
                <c:pt idx="10">
                  <c:v/>
                </c:pt>
                <c:pt idx="11">
                  <c:v/>
                </c:pt>
                <c:pt idx="12">
                  <c:v/>
                </c:pt>
                <c:pt idx="13">
                  <c:v>IX 100</c:v>
                </c:pt>
                <c:pt idx="14">
                  <c:v/>
                </c:pt>
                <c:pt idx="15">
                  <c:v>IX 79</c:v>
                </c:pt>
                <c:pt idx="16">
                  <c:v/>
                </c:pt>
                <c:pt idx="17">
                  <c:v/>
                </c:pt>
                <c:pt idx="18">
                  <c:v/>
                </c:pt>
                <c:pt idx="19">
                  <c:v/>
                </c:pt>
                <c:pt idx="20">
                  <c:v>IX 100</c:v>
                </c:pt>
                <c:pt idx="21">
                  <c:v>IX 100</c:v>
                </c:pt>
                <c:pt idx="22">
                  <c:v>IX 100</c:v>
                </c:pt>
                <c:pt idx="23">
                  <c:v>IX 100</c:v>
                </c:pt>
                <c:pt idx="24">
                  <c:v>IX 100</c:v>
                </c:pt>
                <c:pt idx="25">
                  <c:v/>
                </c:pt>
                <c:pt idx="26">
                  <c:v/>
                </c:pt>
              </c:strCache>
            </c:strRef>
          </c:cat>
          <c:val>
            <c:numRef>
              <c:f>Sheet1!$B$2:$B$28</c:f>
              <c:numCache>
                <c:formatCode>General</c:formatCode>
                <c:ptCount val="27"/>
                <c:pt idx="0">
                  <c:v>6792.92</c:v>
                </c:pt>
                <c:pt idx="1">
                  <c:v>1539.12</c:v>
                </c:pt>
                <c:pt idx="2">
                  <c:v>1572.19</c:v>
                </c:pt>
                <c:pt idx="3">
                  <c:v>13369.84</c:v>
                </c:pt>
                <c:pt idx="4">
                  <c:v>5228.36</c:v>
                </c:pt>
                <c:pt idx="5">
                  <c:v>1650.93</c:v>
                </c:pt>
                <c:pt idx="6">
                  <c:v>5302.03</c:v>
                </c:pt>
                <c:pt idx="7">
                  <c:v>1370.18</c:v>
                </c:pt>
                <c:pt idx="8">
                  <c:v>1009.21</c:v>
                </c:pt>
                <c:pt idx="9">
                  <c:v>1658.85</c:v>
                </c:pt>
                <c:pt idx="10">
                  <c:v>4049.57</c:v>
                </c:pt>
                <c:pt idx="11">
                  <c:v>9804.89</c:v>
                </c:pt>
                <c:pt idx="12">
                  <c:v>51703.25</c:v>
                </c:pt>
                <c:pt idx="13">
                  <c:v>1748.48</c:v>
                </c:pt>
                <c:pt idx="14">
                  <c:v>2944.52</c:v>
                </c:pt>
                <c:pt idx="15">
                  <c:v>7847.98</c:v>
                </c:pt>
                <c:pt idx="16">
                  <c:v>3539.72</c:v>
                </c:pt>
                <c:pt idx="17">
                  <c:v>6971.58</c:v>
                </c:pt>
                <c:pt idx="18">
                  <c:v>22411.7</c:v>
                </c:pt>
                <c:pt idx="19">
                  <c:v>22363.71</c:v>
                </c:pt>
                <c:pt idx="20">
                  <c:v>1764.95</c:v>
                </c:pt>
                <c:pt idx="21">
                  <c:v>1800.26</c:v>
                </c:pt>
                <c:pt idx="22">
                  <c:v>1556.64</c:v>
                </c:pt>
                <c:pt idx="23">
                  <c:v>2923.82</c:v>
                </c:pt>
                <c:pt idx="24">
                  <c:v>2886.9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2</a:t>
                    </a:r>
                  </a:p>
                  <a:p>
                    <a:r>
                      <a:t>1216.09</a:t>
                    </a:r>
                  </a:p>
                </c:rich>
              </c:tx>
              <c:dLblPos val="l"/>
              <c:showLegendKey val="0"/>
              <c:showVal val="1"/>
              <c:showCatName val="0"/>
              <c:showSerName val="0"/>
              <c:showPercent val="0"/>
              <c:showBubbleSize val="0"/>
            </c:dLbl>
            <c:dLbl>
              <c:idx val="2"/>
              <c:tx>
                <c:rich>
                  <a:bodyPr/>
                  <a:lstStyle/>
                  <a:p>
                    <a:r>
                      <a:t>IX 94</a:t>
                    </a:r>
                  </a:p>
                  <a:p>
                    <a:r>
                      <a:t>1449.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IX 100</a:t>
                    </a:r>
                  </a:p>
                  <a:p>
                    <a:r>
                      <a:t>1478.69</a:t>
                    </a:r>
                  </a:p>
                </c:rich>
              </c:tx>
              <c:dLblPos val="l"/>
              <c:showLegendKey val="0"/>
              <c:showVal val="1"/>
              <c:showCatName val="0"/>
              <c:showSerName val="0"/>
              <c:showPercent val="0"/>
              <c:showBubbleSize val="0"/>
            </c:dLbl>
            <c:dLbl>
              <c:idx val="8"/>
              <c:tx>
                <c:rich>
                  <a:bodyPr/>
                  <a:lstStyle/>
                  <a:p>
                    <a:r>
                      <a:t>IX 100</a:t>
                    </a:r>
                  </a:p>
                  <a:p>
                    <a:r>
                      <a:t>1254.27</a:t>
                    </a:r>
                  </a:p>
                </c:rich>
              </c:tx>
              <c:dLblPos val="l"/>
              <c:showLegendKey val="0"/>
              <c:showVal val="1"/>
              <c:showCatName val="0"/>
              <c:showSerName val="0"/>
              <c:showPercent val="0"/>
              <c:showBubbleSize val="0"/>
            </c:dLbl>
            <c:dLbl>
              <c:idx val="9"/>
              <c:tx>
                <c:rich>
                  <a:bodyPr/>
                  <a:lstStyle/>
                  <a:p>
                    <a:r>
                      <a:t>IX 100</a:t>
                    </a:r>
                  </a:p>
                  <a:p>
                    <a:r>
                      <a:t>1600.75</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IX 100</a:t>
                    </a:r>
                  </a:p>
                  <a:p>
                    <a:r>
                      <a:t>1755.95</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IX 79</a:t>
                    </a:r>
                  </a:p>
                  <a:p>
                    <a:r>
                      <a:t>6261.37</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IX 100</a:t>
                    </a:r>
                  </a:p>
                  <a:p>
                    <a:r>
                      <a:t>1352.33</a:t>
                    </a:r>
                  </a:p>
                </c:rich>
              </c:tx>
              <c:dLblPos val="l"/>
              <c:showLegendKey val="0"/>
              <c:showVal val="1"/>
              <c:showCatName val="0"/>
              <c:showSerName val="0"/>
              <c:showPercent val="0"/>
              <c:showBubbleSize val="0"/>
            </c:dLbl>
            <c:dLbl>
              <c:idx val="21"/>
              <c:tx>
                <c:rich>
                  <a:bodyPr/>
                  <a:lstStyle/>
                  <a:p>
                    <a:r>
                      <a:t>IX 100</a:t>
                    </a:r>
                  </a:p>
                  <a:p>
                    <a:r>
                      <a:t>11079.5</a:t>
                    </a:r>
                  </a:p>
                </c:rich>
              </c:tx>
              <c:dLblPos val="l"/>
              <c:showLegendKey val="0"/>
              <c:showVal val="1"/>
              <c:showCatName val="0"/>
              <c:showSerName val="0"/>
              <c:showPercent val="0"/>
              <c:showBubbleSize val="0"/>
            </c:dLbl>
            <c:dLbl>
              <c:idx val="22"/>
              <c:tx>
                <c:rich>
                  <a:bodyPr/>
                  <a:lstStyle/>
                  <a:p>
                    <a:r>
                      <a:t>IX 100</a:t>
                    </a:r>
                  </a:p>
                  <a:p>
                    <a:r>
                      <a:t>1282.73</a:t>
                    </a:r>
                  </a:p>
                </c:rich>
              </c:tx>
              <c:dLblPos val="l"/>
              <c:showLegendKey val="0"/>
              <c:showVal val="1"/>
              <c:showCatName val="0"/>
              <c:showSerName val="0"/>
              <c:showPercent val="0"/>
              <c:showBubbleSize val="0"/>
            </c:dLbl>
            <c:dLbl>
              <c:idx val="23"/>
              <c:tx>
                <c:rich>
                  <a:bodyPr/>
                  <a:lstStyle/>
                  <a:p>
                    <a:r>
                      <a:t>IX 100</a:t>
                    </a:r>
                  </a:p>
                  <a:p>
                    <a:r>
                      <a:t>2923.82</a:t>
                    </a:r>
                  </a:p>
                </c:rich>
              </c:tx>
              <c:dLblPos val="l"/>
              <c:showLegendKey val="0"/>
              <c:showVal val="1"/>
              <c:showCatName val="0"/>
              <c:showSerName val="0"/>
              <c:showPercent val="0"/>
              <c:showBubbleSize val="0"/>
            </c:dLbl>
            <c:dLbl>
              <c:idx val="24"/>
              <c:tx>
                <c:rich>
                  <a:bodyPr/>
                  <a:lstStyle/>
                  <a:p>
                    <a:r>
                      <a:t>IX 100</a:t>
                    </a:r>
                  </a:p>
                  <a:p>
                    <a:r>
                      <a:t>2886.96</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dLbl>
              <c:idx val="26"/>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2</c:v>
                </c:pt>
                <c:pt idx="2">
                  <c:v>IX 94</c:v>
                </c:pt>
                <c:pt idx="3">
                  <c:v/>
                </c:pt>
                <c:pt idx="4">
                  <c:v/>
                </c:pt>
                <c:pt idx="5">
                  <c:v/>
                </c:pt>
                <c:pt idx="6">
                  <c:v/>
                </c:pt>
                <c:pt idx="7">
                  <c:v>IX 100</c:v>
                </c:pt>
                <c:pt idx="8">
                  <c:v>IX 100</c:v>
                </c:pt>
                <c:pt idx="9">
                  <c:v>IX 100</c:v>
                </c:pt>
                <c:pt idx="10">
                  <c:v/>
                </c:pt>
                <c:pt idx="11">
                  <c:v/>
                </c:pt>
                <c:pt idx="12">
                  <c:v/>
                </c:pt>
                <c:pt idx="13">
                  <c:v>IX 100</c:v>
                </c:pt>
                <c:pt idx="14">
                  <c:v/>
                </c:pt>
                <c:pt idx="15">
                  <c:v>IX 79</c:v>
                </c:pt>
                <c:pt idx="16">
                  <c:v/>
                </c:pt>
                <c:pt idx="17">
                  <c:v/>
                </c:pt>
                <c:pt idx="18">
                  <c:v/>
                </c:pt>
                <c:pt idx="19">
                  <c:v/>
                </c:pt>
                <c:pt idx="20">
                  <c:v>IX 100</c:v>
                </c:pt>
                <c:pt idx="21">
                  <c:v>IX 100</c:v>
                </c:pt>
                <c:pt idx="22">
                  <c:v>IX 100</c:v>
                </c:pt>
                <c:pt idx="23">
                  <c:v>IX 100</c:v>
                </c:pt>
                <c:pt idx="24">
                  <c:v>IX 100</c:v>
                </c:pt>
                <c:pt idx="25">
                  <c:v/>
                </c:pt>
                <c:pt idx="26">
                  <c:v/>
                </c:pt>
              </c:strCache>
            </c:strRef>
          </c:cat>
          <c:val>
            <c:numRef>
              <c:f>Sheet1!$C$2:$C$28</c:f>
              <c:numCache>
                <c:formatCode>General</c:formatCode>
                <c:ptCount val="27"/>
                <c:pt idx="1">
                  <c:v>1216.09</c:v>
                </c:pt>
                <c:pt idx="2">
                  <c:v>1449.2</c:v>
                </c:pt>
                <c:pt idx="7">
                  <c:v>1478.69</c:v>
                </c:pt>
                <c:pt idx="8">
                  <c:v>1254.27</c:v>
                </c:pt>
                <c:pt idx="9">
                  <c:v>1600.75</c:v>
                </c:pt>
                <c:pt idx="13">
                  <c:v>1755.95</c:v>
                </c:pt>
                <c:pt idx="15">
                  <c:v>6261.37</c:v>
                </c:pt>
                <c:pt idx="20">
                  <c:v>1352.33</c:v>
                </c:pt>
                <c:pt idx="21">
                  <c:v>11079.5</c:v>
                </c:pt>
                <c:pt idx="22">
                  <c:v>1282.73</c:v>
                </c:pt>
                <c:pt idx="23">
                  <c:v>2923.82</c:v>
                </c:pt>
                <c:pt idx="24">
                  <c:v>2886.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2</c:v>
                </c:pt>
                <c:pt idx="2">
                  <c:v>IX 94</c:v>
                </c:pt>
                <c:pt idx="3">
                  <c:v/>
                </c:pt>
                <c:pt idx="4">
                  <c:v/>
                </c:pt>
                <c:pt idx="5">
                  <c:v/>
                </c:pt>
                <c:pt idx="6">
                  <c:v/>
                </c:pt>
                <c:pt idx="7">
                  <c:v>IX 100</c:v>
                </c:pt>
                <c:pt idx="8">
                  <c:v>IX 100</c:v>
                </c:pt>
                <c:pt idx="9">
                  <c:v>IX 100</c:v>
                </c:pt>
                <c:pt idx="10">
                  <c:v/>
                </c:pt>
                <c:pt idx="11">
                  <c:v/>
                </c:pt>
                <c:pt idx="12">
                  <c:v/>
                </c:pt>
                <c:pt idx="13">
                  <c:v>IX 100</c:v>
                </c:pt>
                <c:pt idx="14">
                  <c:v/>
                </c:pt>
                <c:pt idx="15">
                  <c:v>IX 79</c:v>
                </c:pt>
                <c:pt idx="16">
                  <c:v/>
                </c:pt>
                <c:pt idx="17">
                  <c:v/>
                </c:pt>
                <c:pt idx="18">
                  <c:v/>
                </c:pt>
                <c:pt idx="19">
                  <c:v/>
                </c:pt>
                <c:pt idx="20">
                  <c:v>IX 100</c:v>
                </c:pt>
                <c:pt idx="21">
                  <c:v>IX 100</c:v>
                </c:pt>
                <c:pt idx="22">
                  <c:v>IX 100</c:v>
                </c:pt>
                <c:pt idx="23">
                  <c:v>IX 100</c:v>
                </c:pt>
                <c:pt idx="24">
                  <c:v>IX 100</c:v>
                </c:pt>
                <c:pt idx="25">
                  <c:v/>
                </c:pt>
                <c:pt idx="26">
                  <c:v/>
                </c:pt>
              </c:strCache>
            </c:strRef>
          </c:cat>
          <c:val>
            <c:numRef>
              <c:f>Sheet1!$D$2:$D$28</c:f>
              <c:numCache>
                <c:formatCode>General</c:formatCode>
                <c:ptCount val="27"/>
                <c:pt idx="0">
                  <c:v>12532.18</c:v>
                </c:pt>
                <c:pt idx="3">
                  <c:v>12668.21</c:v>
                </c:pt>
                <c:pt idx="4">
                  <c:v>2608.07</c:v>
                </c:pt>
                <c:pt idx="6">
                  <c:v>7405.62</c:v>
                </c:pt>
                <c:pt idx="10">
                  <c:v>3210.89</c:v>
                </c:pt>
                <c:pt idx="12">
                  <c:v>51686.15</c:v>
                </c:pt>
                <c:pt idx="16">
                  <c:v>2690.6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2</c:v>
                </c:pt>
                <c:pt idx="2">
                  <c:v>IX 94</c:v>
                </c:pt>
                <c:pt idx="3">
                  <c:v/>
                </c:pt>
                <c:pt idx="4">
                  <c:v/>
                </c:pt>
                <c:pt idx="5">
                  <c:v/>
                </c:pt>
                <c:pt idx="6">
                  <c:v/>
                </c:pt>
                <c:pt idx="7">
                  <c:v>IX 100</c:v>
                </c:pt>
                <c:pt idx="8">
                  <c:v>IX 100</c:v>
                </c:pt>
                <c:pt idx="9">
                  <c:v>IX 100</c:v>
                </c:pt>
                <c:pt idx="10">
                  <c:v/>
                </c:pt>
                <c:pt idx="11">
                  <c:v/>
                </c:pt>
                <c:pt idx="12">
                  <c:v/>
                </c:pt>
                <c:pt idx="13">
                  <c:v>IX 100</c:v>
                </c:pt>
                <c:pt idx="14">
                  <c:v/>
                </c:pt>
                <c:pt idx="15">
                  <c:v>IX 79</c:v>
                </c:pt>
                <c:pt idx="16">
                  <c:v/>
                </c:pt>
                <c:pt idx="17">
                  <c:v/>
                </c:pt>
                <c:pt idx="18">
                  <c:v/>
                </c:pt>
                <c:pt idx="19">
                  <c:v/>
                </c:pt>
                <c:pt idx="20">
                  <c:v>IX 100</c:v>
                </c:pt>
                <c:pt idx="21">
                  <c:v>IX 100</c:v>
                </c:pt>
                <c:pt idx="22">
                  <c:v>IX 100</c:v>
                </c:pt>
                <c:pt idx="23">
                  <c:v>IX 100</c:v>
                </c:pt>
                <c:pt idx="24">
                  <c:v>IX 100</c:v>
                </c:pt>
                <c:pt idx="25">
                  <c:v/>
                </c:pt>
                <c:pt idx="26">
                  <c:v/>
                </c:pt>
              </c:strCache>
            </c:strRef>
          </c:cat>
          <c:val>
            <c:numRef>
              <c:f>Sheet1!$E$2:$E$28</c:f>
              <c:numCache>
                <c:formatCode>General</c:formatCode>
                <c:ptCount val="27"/>
                <c:pt idx="0">
                  <c:v>12158.3</c:v>
                </c:pt>
                <c:pt idx="3">
                  <c:v>12586.62</c:v>
                </c:pt>
                <c:pt idx="4">
                  <c:v>11787.79</c:v>
                </c:pt>
                <c:pt idx="6">
                  <c:v>7593.71</c:v>
                </c:pt>
                <c:pt idx="10">
                  <c:v>6495.46</c:v>
                </c:pt>
                <c:pt idx="14">
                  <c:v>5147.95</c:v>
                </c:pt>
                <c:pt idx="16">
                  <c:v>4470.3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IX 42</c:v>
                </c:pt>
                <c:pt idx="2">
                  <c:v>IX 94</c:v>
                </c:pt>
                <c:pt idx="3">
                  <c:v/>
                </c:pt>
                <c:pt idx="4">
                  <c:v/>
                </c:pt>
                <c:pt idx="5">
                  <c:v/>
                </c:pt>
                <c:pt idx="6">
                  <c:v/>
                </c:pt>
                <c:pt idx="7">
                  <c:v>IX 100</c:v>
                </c:pt>
                <c:pt idx="8">
                  <c:v>IX 100</c:v>
                </c:pt>
                <c:pt idx="9">
                  <c:v>IX 100</c:v>
                </c:pt>
                <c:pt idx="10">
                  <c:v/>
                </c:pt>
                <c:pt idx="11">
                  <c:v/>
                </c:pt>
                <c:pt idx="12">
                  <c:v/>
                </c:pt>
                <c:pt idx="13">
                  <c:v>IX 100</c:v>
                </c:pt>
                <c:pt idx="14">
                  <c:v/>
                </c:pt>
                <c:pt idx="15">
                  <c:v>IX 79</c:v>
                </c:pt>
                <c:pt idx="16">
                  <c:v/>
                </c:pt>
                <c:pt idx="17">
                  <c:v/>
                </c:pt>
                <c:pt idx="18">
                  <c:v/>
                </c:pt>
                <c:pt idx="19">
                  <c:v/>
                </c:pt>
                <c:pt idx="20">
                  <c:v>IX 100</c:v>
                </c:pt>
                <c:pt idx="21">
                  <c:v>IX 100</c:v>
                </c:pt>
                <c:pt idx="22">
                  <c:v>IX 100</c:v>
                </c:pt>
                <c:pt idx="23">
                  <c:v>IX 100</c:v>
                </c:pt>
                <c:pt idx="24">
                  <c:v>IX 100</c:v>
                </c:pt>
                <c:pt idx="25">
                  <c:v/>
                </c:pt>
                <c:pt idx="26">
                  <c:v/>
                </c:pt>
              </c:strCache>
            </c:strRef>
          </c:cat>
          <c:val>
            <c:numRef>
              <c:f>Sheet1!$F$2:$F$28</c:f>
              <c:numCache>
                <c:formatCode>General</c:formatCode>
                <c:ptCount val="27"/>
                <c:pt idx="1">
                  <c:v>2865.42</c:v>
                </c:pt>
                <c:pt idx="2">
                  <c:v>1539.76</c:v>
                </c:pt>
                <c:pt idx="5">
                  <c:v>1645.28</c:v>
                </c:pt>
                <c:pt idx="15">
                  <c:v>7902.3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703.754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
                </c:pt>
                <c:pt idx="2">
                  <c:v>IX 328</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B$2:$B$28</c:f>
              <c:numCache>
                <c:formatCode>General</c:formatCode>
                <c:ptCount val="27"/>
                <c:pt idx="0">
                  <c:v>6792.92</c:v>
                </c:pt>
                <c:pt idx="1">
                  <c:v>1539.12</c:v>
                </c:pt>
                <c:pt idx="2">
                  <c:v>1572.19</c:v>
                </c:pt>
                <c:pt idx="3">
                  <c:v>13369.84</c:v>
                </c:pt>
                <c:pt idx="4">
                  <c:v>5228.36</c:v>
                </c:pt>
                <c:pt idx="5">
                  <c:v>1650.93</c:v>
                </c:pt>
                <c:pt idx="6">
                  <c:v>5302.03</c:v>
                </c:pt>
                <c:pt idx="7">
                  <c:v>1370.18</c:v>
                </c:pt>
                <c:pt idx="8">
                  <c:v>1009.21</c:v>
                </c:pt>
                <c:pt idx="9">
                  <c:v>1658.85</c:v>
                </c:pt>
                <c:pt idx="10">
                  <c:v>4049.57</c:v>
                </c:pt>
                <c:pt idx="11">
                  <c:v>9804.89</c:v>
                </c:pt>
                <c:pt idx="12">
                  <c:v>51703.25</c:v>
                </c:pt>
                <c:pt idx="13">
                  <c:v>1748.48</c:v>
                </c:pt>
                <c:pt idx="14">
                  <c:v>2944.52</c:v>
                </c:pt>
                <c:pt idx="15">
                  <c:v>7847.98</c:v>
                </c:pt>
                <c:pt idx="16">
                  <c:v>3539.72</c:v>
                </c:pt>
                <c:pt idx="17">
                  <c:v>6971.58</c:v>
                </c:pt>
                <c:pt idx="18">
                  <c:v>22411.7</c:v>
                </c:pt>
                <c:pt idx="19">
                  <c:v>22363.71</c:v>
                </c:pt>
                <c:pt idx="20">
                  <c:v>1764.95</c:v>
                </c:pt>
                <c:pt idx="21">
                  <c:v>1800.26</c:v>
                </c:pt>
                <c:pt idx="22">
                  <c:v>1556.64</c:v>
                </c:pt>
                <c:pt idx="23">
                  <c:v>2923.82</c:v>
                </c:pt>
                <c:pt idx="24">
                  <c:v>2886.9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328</a:t>
                    </a:r>
                  </a:p>
                  <a:p>
                    <a:r>
                      <a:t>5054.0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None</a:t>
                    </a:r>
                  </a:p>
                  <a:p>
                    <a:r>
                      <a:t>None</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dLbl>
              <c:idx val="24"/>
              <c:tx>
                <c:rich>
                  <a:bodyPr/>
                  <a:lstStyle/>
                  <a:p>
                    <a:r>
                      <a:t>None</a:t>
                    </a:r>
                  </a:p>
                  <a:p>
                    <a:r>
                      <a:t>None</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dLbl>
              <c:idx val="26"/>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
                </c:pt>
                <c:pt idx="2">
                  <c:v>IX 328</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C$2:$C$28</c:f>
              <c:numCache>
                <c:formatCode>General</c:formatCode>
                <c:ptCount val="27"/>
                <c:pt idx="2">
                  <c:v>5054.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
                </c:pt>
                <c:pt idx="2">
                  <c:v>IX 328</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D$2:$D$28</c:f>
              <c:numCache>
                <c:formatCode>General</c:formatCode>
                <c:ptCount val="27"/>
                <c:pt idx="0">
                  <c:v>12532.18</c:v>
                </c:pt>
                <c:pt idx="3">
                  <c:v>12668.21</c:v>
                </c:pt>
                <c:pt idx="4">
                  <c:v>2608.07</c:v>
                </c:pt>
                <c:pt idx="6">
                  <c:v>7405.62</c:v>
                </c:pt>
                <c:pt idx="10">
                  <c:v>3210.89</c:v>
                </c:pt>
                <c:pt idx="12">
                  <c:v>51686.15</c:v>
                </c:pt>
                <c:pt idx="16">
                  <c:v>2690.6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
                </c:pt>
                <c:pt idx="2">
                  <c:v>IX 328</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E$2:$E$28</c:f>
              <c:numCache>
                <c:formatCode>General</c:formatCode>
                <c:ptCount val="27"/>
                <c:pt idx="0">
                  <c:v>12158.3</c:v>
                </c:pt>
                <c:pt idx="3">
                  <c:v>12586.62</c:v>
                </c:pt>
                <c:pt idx="4">
                  <c:v>11787.79</c:v>
                </c:pt>
                <c:pt idx="6">
                  <c:v>7593.71</c:v>
                </c:pt>
                <c:pt idx="10">
                  <c:v>6495.46</c:v>
                </c:pt>
                <c:pt idx="14">
                  <c:v>5147.95</c:v>
                </c:pt>
                <c:pt idx="16">
                  <c:v>4470.3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
                </c:pt>
                <c:pt idx="1">
                  <c:v/>
                </c:pt>
                <c:pt idx="2">
                  <c:v>IX 328</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pt idx="26">
                  <c:v/>
                </c:pt>
              </c:strCache>
            </c:strRef>
          </c:cat>
          <c:val>
            <c:numRef>
              <c:f>Sheet1!$F$2:$F$28</c:f>
              <c:numCache>
                <c:formatCode>General</c:formatCode>
                <c:ptCount val="27"/>
                <c:pt idx="1">
                  <c:v>2865.42</c:v>
                </c:pt>
                <c:pt idx="2">
                  <c:v>1539.76</c:v>
                </c:pt>
                <c:pt idx="5">
                  <c:v>1645.28</c:v>
                </c:pt>
                <c:pt idx="15">
                  <c:v>7902.3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703.7544"/>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7</c:v>
                </c:pt>
                <c:pt idx="4">
                  <c:v>IX 35</c:v>
                </c:pt>
                <c:pt idx="5">
                  <c:v/>
                </c:pt>
                <c:pt idx="6">
                  <c:v/>
                </c:pt>
                <c:pt idx="7">
                  <c:v/>
                </c:pt>
                <c:pt idx="8">
                  <c:v>IX 100</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B$2:$B$25</c:f>
              <c:numCache>
                <c:formatCode>General</c:formatCode>
                <c:ptCount val="24"/>
                <c:pt idx="0">
                  <c:v>8348.7</c:v>
                </c:pt>
                <c:pt idx="1">
                  <c:v>13486.03</c:v>
                </c:pt>
                <c:pt idx="2">
                  <c:v>5346.71</c:v>
                </c:pt>
                <c:pt idx="3">
                  <c:v>1784.23</c:v>
                </c:pt>
                <c:pt idx="4">
                  <c:v>1788.9</c:v>
                </c:pt>
                <c:pt idx="5">
                  <c:v>4975.56</c:v>
                </c:pt>
                <c:pt idx="6">
                  <c:v>4421.92</c:v>
                </c:pt>
                <c:pt idx="7">
                  <c:v>10425.96</c:v>
                </c:pt>
                <c:pt idx="8">
                  <c:v>1457.15</c:v>
                </c:pt>
                <c:pt idx="9">
                  <c:v>1966.45</c:v>
                </c:pt>
                <c:pt idx="10">
                  <c:v>52282.7</c:v>
                </c:pt>
                <c:pt idx="11">
                  <c:v>2949.2</c:v>
                </c:pt>
                <c:pt idx="12">
                  <c:v>1274.78</c:v>
                </c:pt>
                <c:pt idx="13">
                  <c:v>2126.18</c:v>
                </c:pt>
                <c:pt idx="14">
                  <c:v>22118.93</c:v>
                </c:pt>
                <c:pt idx="15">
                  <c:v>1760.0</c:v>
                </c:pt>
                <c:pt idx="16">
                  <c:v>3504.29</c:v>
                </c:pt>
                <c:pt idx="17">
                  <c:v>35161.41</c:v>
                </c:pt>
                <c:pt idx="18">
                  <c:v>8441.82</c:v>
                </c:pt>
                <c:pt idx="19">
                  <c:v>8041.06</c:v>
                </c:pt>
                <c:pt idx="20">
                  <c:v>2102.2</c:v>
                </c:pt>
                <c:pt idx="21">
                  <c:v>1463.8</c:v>
                </c:pt>
                <c:pt idx="22">
                  <c:v>5995.1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87</a:t>
                    </a:r>
                  </a:p>
                  <a:p>
                    <a:r>
                      <a:t>1425.79</a:t>
                    </a:r>
                  </a:p>
                </c:rich>
              </c:tx>
              <c:dLblPos val="l"/>
              <c:showLegendKey val="0"/>
              <c:showVal val="1"/>
              <c:showCatName val="0"/>
              <c:showSerName val="0"/>
              <c:showPercent val="0"/>
              <c:showBubbleSize val="0"/>
            </c:dLbl>
            <c:dLbl>
              <c:idx val="4"/>
              <c:tx>
                <c:rich>
                  <a:bodyPr/>
                  <a:lstStyle/>
                  <a:p>
                    <a:r>
                      <a:t>IX 35</a:t>
                    </a:r>
                  </a:p>
                  <a:p>
                    <a:r>
                      <a:t>1273.16</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IX 100</a:t>
                    </a:r>
                  </a:p>
                  <a:p>
                    <a:r>
                      <a:t>1444.22</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None</a:t>
                    </a:r>
                  </a:p>
                  <a:p>
                    <a:r>
                      <a:t>None</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7</c:v>
                </c:pt>
                <c:pt idx="4">
                  <c:v>IX 35</c:v>
                </c:pt>
                <c:pt idx="5">
                  <c:v/>
                </c:pt>
                <c:pt idx="6">
                  <c:v/>
                </c:pt>
                <c:pt idx="7">
                  <c:v/>
                </c:pt>
                <c:pt idx="8">
                  <c:v>IX 100</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C$2:$C$25</c:f>
              <c:numCache>
                <c:formatCode>General</c:formatCode>
                <c:ptCount val="24"/>
                <c:pt idx="3">
                  <c:v>1425.79</c:v>
                </c:pt>
                <c:pt idx="4">
                  <c:v>1273.16</c:v>
                </c:pt>
                <c:pt idx="8">
                  <c:v>1444.2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7</c:v>
                </c:pt>
                <c:pt idx="4">
                  <c:v>IX 35</c:v>
                </c:pt>
                <c:pt idx="5">
                  <c:v/>
                </c:pt>
                <c:pt idx="6">
                  <c:v/>
                </c:pt>
                <c:pt idx="7">
                  <c:v/>
                </c:pt>
                <c:pt idx="8">
                  <c:v>IX 100</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D$2:$D$25</c:f>
              <c:numCache>
                <c:formatCode>General</c:formatCode>
                <c:ptCount val="24"/>
                <c:pt idx="0">
                  <c:v>12586.15</c:v>
                </c:pt>
                <c:pt idx="1">
                  <c:v>12861.37</c:v>
                </c:pt>
                <c:pt idx="2">
                  <c:v>2613.65</c:v>
                </c:pt>
                <c:pt idx="5">
                  <c:v>7407.64</c:v>
                </c:pt>
                <c:pt idx="6">
                  <c:v>3251.36</c:v>
                </c:pt>
                <c:pt idx="10">
                  <c:v>52262.69</c:v>
                </c:pt>
                <c:pt idx="16">
                  <c:v>2729.1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7</c:v>
                </c:pt>
                <c:pt idx="4">
                  <c:v>IX 35</c:v>
                </c:pt>
                <c:pt idx="5">
                  <c:v/>
                </c:pt>
                <c:pt idx="6">
                  <c:v/>
                </c:pt>
                <c:pt idx="7">
                  <c:v/>
                </c:pt>
                <c:pt idx="8">
                  <c:v>IX 100</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E$2:$E$25</c:f>
              <c:numCache>
                <c:formatCode>General</c:formatCode>
                <c:ptCount val="24"/>
                <c:pt idx="0">
                  <c:v>12327.96</c:v>
                </c:pt>
                <c:pt idx="1">
                  <c:v>12661.88</c:v>
                </c:pt>
                <c:pt idx="2">
                  <c:v>11795.75</c:v>
                </c:pt>
                <c:pt idx="5">
                  <c:v>7680.67</c:v>
                </c:pt>
                <c:pt idx="6">
                  <c:v>6572.08</c:v>
                </c:pt>
                <c:pt idx="11">
                  <c:v>5086.48</c:v>
                </c:pt>
                <c:pt idx="16">
                  <c:v>4304.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87</c:v>
                </c:pt>
                <c:pt idx="4">
                  <c:v>IX 35</c:v>
                </c:pt>
                <c:pt idx="5">
                  <c:v/>
                </c:pt>
                <c:pt idx="6">
                  <c:v/>
                </c:pt>
                <c:pt idx="7">
                  <c:v/>
                </c:pt>
                <c:pt idx="8">
                  <c:v>IX 100</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F$2:$F$25</c:f>
              <c:numCache>
                <c:formatCode>General</c:formatCode>
                <c:ptCount val="24"/>
                <c:pt idx="3">
                  <c:v>1631.9</c:v>
                </c:pt>
                <c:pt idx="4">
                  <c:v>3677.24</c:v>
                </c:pt>
                <c:pt idx="9">
                  <c:v>1938.79</c:v>
                </c:pt>
                <c:pt idx="18">
                  <c:v>8389.8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83.204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95</c:v>
                </c:pt>
                <c:pt idx="4">
                  <c:v>IX 37</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B$2:$B$25</c:f>
              <c:numCache>
                <c:formatCode>General</c:formatCode>
                <c:ptCount val="24"/>
                <c:pt idx="0">
                  <c:v>8348.7</c:v>
                </c:pt>
                <c:pt idx="1">
                  <c:v>13486.03</c:v>
                </c:pt>
                <c:pt idx="2">
                  <c:v>5346.71</c:v>
                </c:pt>
                <c:pt idx="3">
                  <c:v>1784.23</c:v>
                </c:pt>
                <c:pt idx="4">
                  <c:v>1788.9</c:v>
                </c:pt>
                <c:pt idx="5">
                  <c:v>4975.56</c:v>
                </c:pt>
                <c:pt idx="6">
                  <c:v>4421.92</c:v>
                </c:pt>
                <c:pt idx="7">
                  <c:v>10425.96</c:v>
                </c:pt>
                <c:pt idx="8">
                  <c:v>1457.15</c:v>
                </c:pt>
                <c:pt idx="9">
                  <c:v>1966.45</c:v>
                </c:pt>
                <c:pt idx="10">
                  <c:v>52282.7</c:v>
                </c:pt>
                <c:pt idx="11">
                  <c:v>2949.2</c:v>
                </c:pt>
                <c:pt idx="12">
                  <c:v>1274.78</c:v>
                </c:pt>
                <c:pt idx="13">
                  <c:v>2126.18</c:v>
                </c:pt>
                <c:pt idx="14">
                  <c:v>22118.93</c:v>
                </c:pt>
                <c:pt idx="15">
                  <c:v>1760.0</c:v>
                </c:pt>
                <c:pt idx="16">
                  <c:v>3504.29</c:v>
                </c:pt>
                <c:pt idx="17">
                  <c:v>35161.41</c:v>
                </c:pt>
                <c:pt idx="18">
                  <c:v>8441.82</c:v>
                </c:pt>
                <c:pt idx="19">
                  <c:v>8041.06</c:v>
                </c:pt>
                <c:pt idx="20">
                  <c:v>2102.2</c:v>
                </c:pt>
                <c:pt idx="21">
                  <c:v>1463.8</c:v>
                </c:pt>
                <c:pt idx="22">
                  <c:v>5995.1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95</a:t>
                    </a:r>
                  </a:p>
                  <a:p>
                    <a:r>
                      <a:t>1550.48</a:t>
                    </a:r>
                  </a:p>
                </c:rich>
              </c:tx>
              <c:dLblPos val="l"/>
              <c:showLegendKey val="0"/>
              <c:showVal val="1"/>
              <c:showCatName val="0"/>
              <c:showSerName val="0"/>
              <c:showPercent val="0"/>
              <c:showBubbleSize val="0"/>
            </c:dLbl>
            <c:dLbl>
              <c:idx val="4"/>
              <c:tx>
                <c:rich>
                  <a:bodyPr/>
                  <a:lstStyle/>
                  <a:p>
                    <a:r>
                      <a:t>IX 37</a:t>
                    </a:r>
                  </a:p>
                  <a:p>
                    <a:r>
                      <a:t>1354.3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IX 100</a:t>
                    </a:r>
                  </a:p>
                  <a:p>
                    <a:r>
                      <a:t>1506.71</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IX 100</a:t>
                    </a:r>
                  </a:p>
                  <a:p>
                    <a:r>
                      <a:t>1452.2</a:t>
                    </a:r>
                  </a:p>
                </c:rich>
              </c:tx>
              <c:dLblPos val="l"/>
              <c:showLegendKey val="0"/>
              <c:showVal val="1"/>
              <c:showCatName val="0"/>
              <c:showSerName val="0"/>
              <c:showPercent val="0"/>
              <c:showBubbleSize val="0"/>
            </c:dLbl>
            <c:dLbl>
              <c:idx val="13"/>
              <c:tx>
                <c:rich>
                  <a:bodyPr/>
                  <a:lstStyle/>
                  <a:p>
                    <a:r>
                      <a:t>IX 100</a:t>
                    </a:r>
                  </a:p>
                  <a:p>
                    <a:r>
                      <a:t>1993.87</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IX 100</a:t>
                    </a:r>
                  </a:p>
                  <a:p>
                    <a:r>
                      <a:t>1812.57</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IX 0</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IX 100</a:t>
                    </a:r>
                  </a:p>
                  <a:p>
                    <a:r>
                      <a:t>11079.5</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IX 100</a:t>
                    </a:r>
                  </a:p>
                  <a:p>
                    <a:r>
                      <a:t>5995.11</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95</c:v>
                </c:pt>
                <c:pt idx="4">
                  <c:v>IX 37</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C$2:$C$25</c:f>
              <c:numCache>
                <c:formatCode>General</c:formatCode>
                <c:ptCount val="24"/>
                <c:pt idx="3">
                  <c:v>1550.48</c:v>
                </c:pt>
                <c:pt idx="4">
                  <c:v>1354.33</c:v>
                </c:pt>
                <c:pt idx="8">
                  <c:v>1506.71</c:v>
                </c:pt>
                <c:pt idx="12">
                  <c:v>1452.2</c:v>
                </c:pt>
                <c:pt idx="13">
                  <c:v>1993.87</c:v>
                </c:pt>
                <c:pt idx="15">
                  <c:v>1812.57</c:v>
                </c:pt>
                <c:pt idx="20">
                  <c:v>11079.5</c:v>
                </c:pt>
                <c:pt idx="22">
                  <c:v>5995.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95</c:v>
                </c:pt>
                <c:pt idx="4">
                  <c:v>IX 37</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D$2:$D$25</c:f>
              <c:numCache>
                <c:formatCode>General</c:formatCode>
                <c:ptCount val="24"/>
                <c:pt idx="0">
                  <c:v>12586.15</c:v>
                </c:pt>
                <c:pt idx="1">
                  <c:v>12861.37</c:v>
                </c:pt>
                <c:pt idx="2">
                  <c:v>2613.65</c:v>
                </c:pt>
                <c:pt idx="5">
                  <c:v>7407.64</c:v>
                </c:pt>
                <c:pt idx="6">
                  <c:v>3251.36</c:v>
                </c:pt>
                <c:pt idx="10">
                  <c:v>52262.69</c:v>
                </c:pt>
                <c:pt idx="16">
                  <c:v>2729.1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95</c:v>
                </c:pt>
                <c:pt idx="4">
                  <c:v>IX 37</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E$2:$E$25</c:f>
              <c:numCache>
                <c:formatCode>General</c:formatCode>
                <c:ptCount val="24"/>
                <c:pt idx="0">
                  <c:v>12327.96</c:v>
                </c:pt>
                <c:pt idx="1">
                  <c:v>12661.88</c:v>
                </c:pt>
                <c:pt idx="2">
                  <c:v>11795.75</c:v>
                </c:pt>
                <c:pt idx="5">
                  <c:v>7680.67</c:v>
                </c:pt>
                <c:pt idx="6">
                  <c:v>6572.08</c:v>
                </c:pt>
                <c:pt idx="11">
                  <c:v>5086.48</c:v>
                </c:pt>
                <c:pt idx="16">
                  <c:v>4304.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95</c:v>
                </c:pt>
                <c:pt idx="4">
                  <c:v>IX 37</c:v>
                </c:pt>
                <c:pt idx="5">
                  <c:v/>
                </c:pt>
                <c:pt idx="6">
                  <c:v/>
                </c:pt>
                <c:pt idx="7">
                  <c:v/>
                </c:pt>
                <c:pt idx="8">
                  <c:v>IX 100</c:v>
                </c:pt>
                <c:pt idx="9">
                  <c:v/>
                </c:pt>
                <c:pt idx="10">
                  <c:v/>
                </c:pt>
                <c:pt idx="11">
                  <c:v/>
                </c:pt>
                <c:pt idx="12">
                  <c:v>IX 100</c:v>
                </c:pt>
                <c:pt idx="13">
                  <c:v>IX 100</c:v>
                </c:pt>
                <c:pt idx="14">
                  <c:v/>
                </c:pt>
                <c:pt idx="15">
                  <c:v>IX 100</c:v>
                </c:pt>
                <c:pt idx="16">
                  <c:v/>
                </c:pt>
                <c:pt idx="17">
                  <c:v/>
                </c:pt>
                <c:pt idx="18">
                  <c:v>IX 0</c:v>
                </c:pt>
                <c:pt idx="19">
                  <c:v/>
                </c:pt>
                <c:pt idx="20">
                  <c:v>IX 100</c:v>
                </c:pt>
                <c:pt idx="21">
                  <c:v/>
                </c:pt>
                <c:pt idx="22">
                  <c:v>IX 100</c:v>
                </c:pt>
                <c:pt idx="23">
                  <c:v/>
                </c:pt>
              </c:strCache>
            </c:strRef>
          </c:cat>
          <c:val>
            <c:numRef>
              <c:f>Sheet1!$F$2:$F$25</c:f>
              <c:numCache>
                <c:formatCode>General</c:formatCode>
                <c:ptCount val="24"/>
                <c:pt idx="3">
                  <c:v>1631.9</c:v>
                </c:pt>
                <c:pt idx="4">
                  <c:v>3677.24</c:v>
                </c:pt>
                <c:pt idx="9">
                  <c:v>1938.79</c:v>
                </c:pt>
                <c:pt idx="18">
                  <c:v>8389.8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83.204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1354</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B$2:$B$25</c:f>
              <c:numCache>
                <c:formatCode>General</c:formatCode>
                <c:ptCount val="24"/>
                <c:pt idx="0">
                  <c:v>8348.7</c:v>
                </c:pt>
                <c:pt idx="1">
                  <c:v>13486.03</c:v>
                </c:pt>
                <c:pt idx="2">
                  <c:v>5346.71</c:v>
                </c:pt>
                <c:pt idx="3">
                  <c:v>1784.23</c:v>
                </c:pt>
                <c:pt idx="4">
                  <c:v>1788.9</c:v>
                </c:pt>
                <c:pt idx="5">
                  <c:v>4975.56</c:v>
                </c:pt>
                <c:pt idx="6">
                  <c:v>4421.92</c:v>
                </c:pt>
                <c:pt idx="7">
                  <c:v>10425.96</c:v>
                </c:pt>
                <c:pt idx="8">
                  <c:v>1457.15</c:v>
                </c:pt>
                <c:pt idx="9">
                  <c:v>1966.45</c:v>
                </c:pt>
                <c:pt idx="10">
                  <c:v>52282.7</c:v>
                </c:pt>
                <c:pt idx="11">
                  <c:v>2949.2</c:v>
                </c:pt>
                <c:pt idx="12">
                  <c:v>1274.78</c:v>
                </c:pt>
                <c:pt idx="13">
                  <c:v>2126.18</c:v>
                </c:pt>
                <c:pt idx="14">
                  <c:v>22118.93</c:v>
                </c:pt>
                <c:pt idx="15">
                  <c:v>1760.0</c:v>
                </c:pt>
                <c:pt idx="16">
                  <c:v>3504.29</c:v>
                </c:pt>
                <c:pt idx="17">
                  <c:v>35161.41</c:v>
                </c:pt>
                <c:pt idx="18">
                  <c:v>8441.82</c:v>
                </c:pt>
                <c:pt idx="19">
                  <c:v>8041.06</c:v>
                </c:pt>
                <c:pt idx="20">
                  <c:v>2102.2</c:v>
                </c:pt>
                <c:pt idx="21">
                  <c:v>1463.8</c:v>
                </c:pt>
                <c:pt idx="22">
                  <c:v>5995.1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354</a:t>
                    </a:r>
                  </a:p>
                  <a:p>
                    <a:r>
                      <a:t>22101.2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None</a:t>
                    </a:r>
                  </a:p>
                  <a:p>
                    <a:r>
                      <a:t>None</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1354</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C$2:$C$25</c:f>
              <c:numCache>
                <c:formatCode>General</c:formatCode>
                <c:ptCount val="24"/>
                <c:pt idx="3">
                  <c:v>22101.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1354</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D$2:$D$25</c:f>
              <c:numCache>
                <c:formatCode>General</c:formatCode>
                <c:ptCount val="24"/>
                <c:pt idx="0">
                  <c:v>12586.15</c:v>
                </c:pt>
                <c:pt idx="1">
                  <c:v>12861.37</c:v>
                </c:pt>
                <c:pt idx="2">
                  <c:v>2613.65</c:v>
                </c:pt>
                <c:pt idx="5">
                  <c:v>7407.64</c:v>
                </c:pt>
                <c:pt idx="6">
                  <c:v>3251.36</c:v>
                </c:pt>
                <c:pt idx="10">
                  <c:v>52262.69</c:v>
                </c:pt>
                <c:pt idx="16">
                  <c:v>2729.1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1354</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E$2:$E$25</c:f>
              <c:numCache>
                <c:formatCode>General</c:formatCode>
                <c:ptCount val="24"/>
                <c:pt idx="0">
                  <c:v>12327.96</c:v>
                </c:pt>
                <c:pt idx="1">
                  <c:v>12661.88</c:v>
                </c:pt>
                <c:pt idx="2">
                  <c:v>11795.75</c:v>
                </c:pt>
                <c:pt idx="5">
                  <c:v>7680.67</c:v>
                </c:pt>
                <c:pt idx="6">
                  <c:v>6572.08</c:v>
                </c:pt>
                <c:pt idx="11">
                  <c:v>5086.48</c:v>
                </c:pt>
                <c:pt idx="16">
                  <c:v>4304.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ive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
                </c:pt>
                <c:pt idx="1">
                  <c:v/>
                </c:pt>
                <c:pt idx="2">
                  <c:v/>
                </c:pt>
                <c:pt idx="3">
                  <c:v>IX 1354</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strCache>
            </c:strRef>
          </c:cat>
          <c:val>
            <c:numRef>
              <c:f>Sheet1!$F$2:$F$25</c:f>
              <c:numCache>
                <c:formatCode>General</c:formatCode>
                <c:ptCount val="24"/>
                <c:pt idx="3">
                  <c:v>1631.9</c:v>
                </c:pt>
                <c:pt idx="4">
                  <c:v>3677.24</c:v>
                </c:pt>
                <c:pt idx="9">
                  <c:v>1938.79</c:v>
                </c:pt>
                <c:pt idx="18">
                  <c:v>8389.8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83.204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45</c:v>
                </c:pt>
                <c:pt idx="1">
                  <c:v/>
                </c:pt>
                <c:pt idx="2">
                  <c:v>IX 94</c:v>
                </c:pt>
                <c:pt idx="3">
                  <c:v/>
                </c:pt>
                <c:pt idx="4">
                  <c:v/>
                </c:pt>
                <c:pt idx="5">
                  <c:v/>
                </c:pt>
                <c:pt idx="6">
                  <c:v>IX 100</c:v>
                </c:pt>
                <c:pt idx="7">
                  <c:v/>
                </c:pt>
                <c:pt idx="8">
                  <c:v/>
                </c:pt>
                <c:pt idx="9">
                  <c:v/>
                </c:pt>
                <c:pt idx="10">
                  <c:v/>
                </c:pt>
                <c:pt idx="11">
                  <c:v/>
                </c:pt>
                <c:pt idx="12">
                  <c:v/>
                </c:pt>
                <c:pt idx="13">
                  <c:v/>
                </c:pt>
                <c:pt idx="14">
                  <c:v/>
                </c:pt>
                <c:pt idx="15">
                  <c:v/>
                </c:pt>
              </c:strCache>
            </c:strRef>
          </c:cat>
          <c:val>
            <c:numRef>
              <c:f>Sheet1!$B$2:$B$17</c:f>
              <c:numCache>
                <c:formatCode>General</c:formatCode>
                <c:ptCount val="16"/>
                <c:pt idx="0">
                  <c:v>1198.21</c:v>
                </c:pt>
                <c:pt idx="1">
                  <c:v>2113.39</c:v>
                </c:pt>
                <c:pt idx="2">
                  <c:v>1464.2</c:v>
                </c:pt>
                <c:pt idx="3">
                  <c:v>1738.05</c:v>
                </c:pt>
                <c:pt idx="4">
                  <c:v>874.66</c:v>
                </c:pt>
                <c:pt idx="5">
                  <c:v>1957.33</c:v>
                </c:pt>
                <c:pt idx="6">
                  <c:v>1194.98</c:v>
                </c:pt>
                <c:pt idx="7">
                  <c:v>2053.06</c:v>
                </c:pt>
                <c:pt idx="8">
                  <c:v>778.96</c:v>
                </c:pt>
                <c:pt idx="9">
                  <c:v>12933.64</c:v>
                </c:pt>
                <c:pt idx="10">
                  <c:v>1151.97</c:v>
                </c:pt>
                <c:pt idx="11">
                  <c:v>6027.0</c:v>
                </c:pt>
                <c:pt idx="12">
                  <c:v>895.05</c:v>
                </c:pt>
                <c:pt idx="13">
                  <c:v>18750.0</c:v>
                </c:pt>
                <c:pt idx="14">
                  <c:v>3782.42</c:v>
                </c:pt>
                <c:pt idx="15">
                  <c:v>2339.5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5</a:t>
                    </a:r>
                  </a:p>
                  <a:p>
                    <a:r>
                      <a:t>1182.0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94</a:t>
                    </a:r>
                  </a:p>
                  <a:p>
                    <a:r>
                      <a:t>1403.9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1063.91</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45</c:v>
                </c:pt>
                <c:pt idx="1">
                  <c:v/>
                </c:pt>
                <c:pt idx="2">
                  <c:v>IX 94</c:v>
                </c:pt>
                <c:pt idx="3">
                  <c:v/>
                </c:pt>
                <c:pt idx="4">
                  <c:v/>
                </c:pt>
                <c:pt idx="5">
                  <c:v/>
                </c:pt>
                <c:pt idx="6">
                  <c:v>IX 100</c:v>
                </c:pt>
                <c:pt idx="7">
                  <c:v/>
                </c:pt>
                <c:pt idx="8">
                  <c:v/>
                </c:pt>
                <c:pt idx="9">
                  <c:v/>
                </c:pt>
                <c:pt idx="10">
                  <c:v/>
                </c:pt>
                <c:pt idx="11">
                  <c:v/>
                </c:pt>
                <c:pt idx="12">
                  <c:v/>
                </c:pt>
                <c:pt idx="13">
                  <c:v/>
                </c:pt>
                <c:pt idx="14">
                  <c:v/>
                </c:pt>
                <c:pt idx="15">
                  <c:v/>
                </c:pt>
              </c:strCache>
            </c:strRef>
          </c:cat>
          <c:val>
            <c:numRef>
              <c:f>Sheet1!$C$2:$C$17</c:f>
              <c:numCache>
                <c:formatCode>General</c:formatCode>
                <c:ptCount val="16"/>
                <c:pt idx="0">
                  <c:v>1182.07</c:v>
                </c:pt>
                <c:pt idx="2">
                  <c:v>1403.96</c:v>
                </c:pt>
                <c:pt idx="6">
                  <c:v>1063.9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45</c:v>
                </c:pt>
                <c:pt idx="1">
                  <c:v/>
                </c:pt>
                <c:pt idx="2">
                  <c:v>IX 94</c:v>
                </c:pt>
                <c:pt idx="3">
                  <c:v/>
                </c:pt>
                <c:pt idx="4">
                  <c:v/>
                </c:pt>
                <c:pt idx="5">
                  <c:v/>
                </c:pt>
                <c:pt idx="6">
                  <c:v>IX 100</c:v>
                </c:pt>
                <c:pt idx="7">
                  <c:v/>
                </c:pt>
                <c:pt idx="8">
                  <c:v/>
                </c:pt>
                <c:pt idx="9">
                  <c:v/>
                </c:pt>
                <c:pt idx="10">
                  <c:v/>
                </c:pt>
                <c:pt idx="11">
                  <c:v/>
                </c:pt>
                <c:pt idx="12">
                  <c:v/>
                </c:pt>
                <c:pt idx="13">
                  <c:v/>
                </c:pt>
                <c:pt idx="14">
                  <c:v/>
                </c:pt>
                <c:pt idx="15">
                  <c:v/>
                </c:pt>
              </c:strCache>
            </c:strRef>
          </c:cat>
          <c:val>
            <c:numRef>
              <c:f>Sheet1!$D$2:$D$17</c:f>
              <c:numCache>
                <c:formatCode>General</c:formatCode>
                <c:ptCount val="16"/>
                <c:pt idx="0">
                  <c:v>2635.83</c:v>
                </c:pt>
                <c:pt idx="2">
                  <c:v>1489.29</c:v>
                </c:pt>
                <c:pt idx="3">
                  <c:v>1738.0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Garn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45</c:v>
                </c:pt>
                <c:pt idx="1">
                  <c:v/>
                </c:pt>
                <c:pt idx="2">
                  <c:v>IX 94</c:v>
                </c:pt>
                <c:pt idx="3">
                  <c:v/>
                </c:pt>
                <c:pt idx="4">
                  <c:v/>
                </c:pt>
                <c:pt idx="5">
                  <c:v/>
                </c:pt>
                <c:pt idx="6">
                  <c:v>IX 100</c:v>
                </c:pt>
                <c:pt idx="7">
                  <c:v/>
                </c:pt>
                <c:pt idx="8">
                  <c:v/>
                </c:pt>
                <c:pt idx="9">
                  <c:v/>
                </c:pt>
                <c:pt idx="10">
                  <c:v/>
                </c:pt>
                <c:pt idx="11">
                  <c:v/>
                </c:pt>
                <c:pt idx="12">
                  <c:v/>
                </c:pt>
                <c:pt idx="13">
                  <c:v/>
                </c:pt>
                <c:pt idx="14">
                  <c:v/>
                </c:pt>
                <c:pt idx="15">
                  <c:v/>
                </c:pt>
              </c:strCache>
            </c:strRef>
          </c:cat>
          <c:val>
            <c:numRef>
              <c:f>Sheet1!$E$2:$E$17</c:f>
              <c:numCache>
                <c:formatCode>General</c:formatCode>
                <c:ptCount val="16"/>
                <c:pt idx="11">
                  <c:v>6027.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45</c:v>
                </c:pt>
                <c:pt idx="1">
                  <c:v/>
                </c:pt>
                <c:pt idx="2">
                  <c:v>IX 94</c:v>
                </c:pt>
                <c:pt idx="3">
                  <c:v/>
                </c:pt>
                <c:pt idx="4">
                  <c:v/>
                </c:pt>
                <c:pt idx="5">
                  <c:v/>
                </c:pt>
                <c:pt idx="6">
                  <c:v>IX 100</c:v>
                </c:pt>
                <c:pt idx="7">
                  <c:v/>
                </c:pt>
                <c:pt idx="8">
                  <c:v/>
                </c:pt>
                <c:pt idx="9">
                  <c:v/>
                </c:pt>
                <c:pt idx="10">
                  <c:v/>
                </c:pt>
                <c:pt idx="11">
                  <c:v/>
                </c:pt>
                <c:pt idx="12">
                  <c:v/>
                </c:pt>
                <c:pt idx="13">
                  <c:v/>
                </c:pt>
                <c:pt idx="14">
                  <c:v/>
                </c:pt>
                <c:pt idx="15">
                  <c:v/>
                </c:pt>
              </c:strCache>
            </c:strRef>
          </c:cat>
          <c:val>
            <c:numRef>
              <c:f>Sheet1!$F$2:$F$17</c:f>
              <c:numCache>
                <c:formatCode>General</c:formatCode>
                <c:ptCount val="16"/>
                <c:pt idx="1">
                  <c:v>9003.47</c:v>
                </c:pt>
                <c:pt idx="5">
                  <c:v>1957.33</c:v>
                </c:pt>
                <c:pt idx="9">
                  <c:v>12933.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750.5"/>
          <c:min val="778.45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8</c:v>
                </c:pt>
                <c:pt idx="1">
                  <c:v/>
                </c:pt>
                <c:pt idx="2">
                  <c:v>IX 77</c:v>
                </c:pt>
                <c:pt idx="3">
                  <c:v/>
                </c:pt>
                <c:pt idx="4">
                  <c:v>IX 100</c:v>
                </c:pt>
                <c:pt idx="5">
                  <c:v/>
                </c:pt>
                <c:pt idx="6">
                  <c:v>IX 100</c:v>
                </c:pt>
                <c:pt idx="7">
                  <c:v>IX 100</c:v>
                </c:pt>
                <c:pt idx="8">
                  <c:v>IX 100</c:v>
                </c:pt>
                <c:pt idx="9">
                  <c:v/>
                </c:pt>
                <c:pt idx="10">
                  <c:v>IX 100</c:v>
                </c:pt>
                <c:pt idx="11">
                  <c:v/>
                </c:pt>
                <c:pt idx="12">
                  <c:v/>
                </c:pt>
                <c:pt idx="13">
                  <c:v/>
                </c:pt>
                <c:pt idx="14">
                  <c:v/>
                </c:pt>
                <c:pt idx="15">
                  <c:v/>
                </c:pt>
              </c:strCache>
            </c:strRef>
          </c:cat>
          <c:val>
            <c:numRef>
              <c:f>Sheet1!$B$2:$B$17</c:f>
              <c:numCache>
                <c:formatCode>General</c:formatCode>
                <c:ptCount val="16"/>
                <c:pt idx="0">
                  <c:v>1198.21</c:v>
                </c:pt>
                <c:pt idx="1">
                  <c:v>2113.39</c:v>
                </c:pt>
                <c:pt idx="2">
                  <c:v>1464.2</c:v>
                </c:pt>
                <c:pt idx="3">
                  <c:v>1738.05</c:v>
                </c:pt>
                <c:pt idx="4">
                  <c:v>874.66</c:v>
                </c:pt>
                <c:pt idx="5">
                  <c:v>1957.33</c:v>
                </c:pt>
                <c:pt idx="6">
                  <c:v>1194.98</c:v>
                </c:pt>
                <c:pt idx="7">
                  <c:v>2053.06</c:v>
                </c:pt>
                <c:pt idx="8">
                  <c:v>778.96</c:v>
                </c:pt>
                <c:pt idx="9">
                  <c:v>12933.64</c:v>
                </c:pt>
                <c:pt idx="10">
                  <c:v>1151.97</c:v>
                </c:pt>
                <c:pt idx="11">
                  <c:v>6027.0</c:v>
                </c:pt>
                <c:pt idx="12">
                  <c:v>895.05</c:v>
                </c:pt>
                <c:pt idx="13">
                  <c:v>18750.0</c:v>
                </c:pt>
                <c:pt idx="14">
                  <c:v>3782.42</c:v>
                </c:pt>
                <c:pt idx="15">
                  <c:v>2339.5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8</a:t>
                    </a:r>
                  </a:p>
                  <a:p>
                    <a:r>
                      <a:t>997.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77</a:t>
                    </a:r>
                  </a:p>
                  <a:p>
                    <a:r>
                      <a:t>1153.9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174.11</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1370.7</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IX 100</a:t>
                    </a:r>
                  </a:p>
                  <a:p>
                    <a:r>
                      <a:t>2072.82</a:t>
                    </a:r>
                  </a:p>
                </c:rich>
              </c:tx>
              <c:dLblPos val="l"/>
              <c:showLegendKey val="0"/>
              <c:showVal val="1"/>
              <c:showCatName val="0"/>
              <c:showSerName val="0"/>
              <c:showPercent val="0"/>
              <c:showBubbleSize val="0"/>
            </c:dLbl>
            <c:dLbl>
              <c:idx val="8"/>
              <c:tx>
                <c:rich>
                  <a:bodyPr/>
                  <a:lstStyle/>
                  <a:p>
                    <a:r>
                      <a:t>IX 100</a:t>
                    </a:r>
                  </a:p>
                  <a:p>
                    <a:r>
                      <a:t>953.33</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1220.56</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8</c:v>
                </c:pt>
                <c:pt idx="1">
                  <c:v/>
                </c:pt>
                <c:pt idx="2">
                  <c:v>IX 77</c:v>
                </c:pt>
                <c:pt idx="3">
                  <c:v/>
                </c:pt>
                <c:pt idx="4">
                  <c:v>IX 100</c:v>
                </c:pt>
                <c:pt idx="5">
                  <c:v/>
                </c:pt>
                <c:pt idx="6">
                  <c:v>IX 100</c:v>
                </c:pt>
                <c:pt idx="7">
                  <c:v>IX 100</c:v>
                </c:pt>
                <c:pt idx="8">
                  <c:v>IX 100</c:v>
                </c:pt>
                <c:pt idx="9">
                  <c:v/>
                </c:pt>
                <c:pt idx="10">
                  <c:v>IX 100</c:v>
                </c:pt>
                <c:pt idx="11">
                  <c:v/>
                </c:pt>
                <c:pt idx="12">
                  <c:v/>
                </c:pt>
                <c:pt idx="13">
                  <c:v/>
                </c:pt>
                <c:pt idx="14">
                  <c:v/>
                </c:pt>
                <c:pt idx="15">
                  <c:v/>
                </c:pt>
              </c:strCache>
            </c:strRef>
          </c:cat>
          <c:val>
            <c:numRef>
              <c:f>Sheet1!$C$2:$C$17</c:f>
              <c:numCache>
                <c:formatCode>General</c:formatCode>
                <c:ptCount val="16"/>
                <c:pt idx="0">
                  <c:v>997.5</c:v>
                </c:pt>
                <c:pt idx="2">
                  <c:v>1153.98</c:v>
                </c:pt>
                <c:pt idx="4">
                  <c:v>1174.11</c:v>
                </c:pt>
                <c:pt idx="6">
                  <c:v>1370.7</c:v>
                </c:pt>
                <c:pt idx="7">
                  <c:v>2072.82</c:v>
                </c:pt>
                <c:pt idx="8">
                  <c:v>953.33</c:v>
                </c:pt>
                <c:pt idx="10">
                  <c:v>1220.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8</c:v>
                </c:pt>
                <c:pt idx="1">
                  <c:v/>
                </c:pt>
                <c:pt idx="2">
                  <c:v>IX 77</c:v>
                </c:pt>
                <c:pt idx="3">
                  <c:v/>
                </c:pt>
                <c:pt idx="4">
                  <c:v>IX 100</c:v>
                </c:pt>
                <c:pt idx="5">
                  <c:v/>
                </c:pt>
                <c:pt idx="6">
                  <c:v>IX 100</c:v>
                </c:pt>
                <c:pt idx="7">
                  <c:v>IX 100</c:v>
                </c:pt>
                <c:pt idx="8">
                  <c:v>IX 100</c:v>
                </c:pt>
                <c:pt idx="9">
                  <c:v/>
                </c:pt>
                <c:pt idx="10">
                  <c:v>IX 100</c:v>
                </c:pt>
                <c:pt idx="11">
                  <c:v/>
                </c:pt>
                <c:pt idx="12">
                  <c:v/>
                </c:pt>
                <c:pt idx="13">
                  <c:v/>
                </c:pt>
                <c:pt idx="14">
                  <c:v/>
                </c:pt>
                <c:pt idx="15">
                  <c:v/>
                </c:pt>
              </c:strCache>
            </c:strRef>
          </c:cat>
          <c:val>
            <c:numRef>
              <c:f>Sheet1!$D$2:$D$17</c:f>
              <c:numCache>
                <c:formatCode>General</c:formatCode>
                <c:ptCount val="16"/>
                <c:pt idx="0">
                  <c:v>2635.83</c:v>
                </c:pt>
                <c:pt idx="2">
                  <c:v>1489.29</c:v>
                </c:pt>
                <c:pt idx="3">
                  <c:v>1738.0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Garn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8</c:v>
                </c:pt>
                <c:pt idx="1">
                  <c:v/>
                </c:pt>
                <c:pt idx="2">
                  <c:v>IX 77</c:v>
                </c:pt>
                <c:pt idx="3">
                  <c:v/>
                </c:pt>
                <c:pt idx="4">
                  <c:v>IX 100</c:v>
                </c:pt>
                <c:pt idx="5">
                  <c:v/>
                </c:pt>
                <c:pt idx="6">
                  <c:v>IX 100</c:v>
                </c:pt>
                <c:pt idx="7">
                  <c:v>IX 100</c:v>
                </c:pt>
                <c:pt idx="8">
                  <c:v>IX 100</c:v>
                </c:pt>
                <c:pt idx="9">
                  <c:v/>
                </c:pt>
                <c:pt idx="10">
                  <c:v>IX 100</c:v>
                </c:pt>
                <c:pt idx="11">
                  <c:v/>
                </c:pt>
                <c:pt idx="12">
                  <c:v/>
                </c:pt>
                <c:pt idx="13">
                  <c:v/>
                </c:pt>
                <c:pt idx="14">
                  <c:v/>
                </c:pt>
                <c:pt idx="15">
                  <c:v/>
                </c:pt>
              </c:strCache>
            </c:strRef>
          </c:cat>
          <c:val>
            <c:numRef>
              <c:f>Sheet1!$E$2:$E$17</c:f>
              <c:numCache>
                <c:formatCode>General</c:formatCode>
                <c:ptCount val="16"/>
                <c:pt idx="11">
                  <c:v>6027.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X 38</c:v>
                </c:pt>
                <c:pt idx="1">
                  <c:v/>
                </c:pt>
                <c:pt idx="2">
                  <c:v>IX 77</c:v>
                </c:pt>
                <c:pt idx="3">
                  <c:v/>
                </c:pt>
                <c:pt idx="4">
                  <c:v>IX 100</c:v>
                </c:pt>
                <c:pt idx="5">
                  <c:v/>
                </c:pt>
                <c:pt idx="6">
                  <c:v>IX 100</c:v>
                </c:pt>
                <c:pt idx="7">
                  <c:v>IX 100</c:v>
                </c:pt>
                <c:pt idx="8">
                  <c:v>IX 100</c:v>
                </c:pt>
                <c:pt idx="9">
                  <c:v/>
                </c:pt>
                <c:pt idx="10">
                  <c:v>IX 100</c:v>
                </c:pt>
                <c:pt idx="11">
                  <c:v/>
                </c:pt>
                <c:pt idx="12">
                  <c:v/>
                </c:pt>
                <c:pt idx="13">
                  <c:v/>
                </c:pt>
                <c:pt idx="14">
                  <c:v/>
                </c:pt>
                <c:pt idx="15">
                  <c:v/>
                </c:pt>
              </c:strCache>
            </c:strRef>
          </c:cat>
          <c:val>
            <c:numRef>
              <c:f>Sheet1!$F$2:$F$17</c:f>
              <c:numCache>
                <c:formatCode>General</c:formatCode>
                <c:ptCount val="16"/>
                <c:pt idx="1">
                  <c:v>9003.47</c:v>
                </c:pt>
                <c:pt idx="5">
                  <c:v>1957.33</c:v>
                </c:pt>
                <c:pt idx="9">
                  <c:v>12933.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750.5"/>
          <c:min val="778.45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
                </c:pt>
                <c:pt idx="1">
                  <c:v/>
                </c:pt>
                <c:pt idx="2">
                  <c:v>IX 115</c:v>
                </c:pt>
                <c:pt idx="3">
                  <c:v/>
                </c:pt>
                <c:pt idx="4">
                  <c:v/>
                </c:pt>
                <c:pt idx="5">
                  <c:v/>
                </c:pt>
                <c:pt idx="6">
                  <c:v/>
                </c:pt>
                <c:pt idx="7">
                  <c:v/>
                </c:pt>
                <c:pt idx="8">
                  <c:v/>
                </c:pt>
                <c:pt idx="9">
                  <c:v/>
                </c:pt>
                <c:pt idx="10">
                  <c:v/>
                </c:pt>
                <c:pt idx="11">
                  <c:v/>
                </c:pt>
                <c:pt idx="12">
                  <c:v/>
                </c:pt>
                <c:pt idx="13">
                  <c:v/>
                </c:pt>
                <c:pt idx="14">
                  <c:v/>
                </c:pt>
                <c:pt idx="15">
                  <c:v/>
                </c:pt>
              </c:strCache>
            </c:strRef>
          </c:cat>
          <c:val>
            <c:numRef>
              <c:f>Sheet1!$B$2:$B$17</c:f>
              <c:numCache>
                <c:formatCode>General</c:formatCode>
                <c:ptCount val="16"/>
                <c:pt idx="0">
                  <c:v>1198.21</c:v>
                </c:pt>
                <c:pt idx="1">
                  <c:v>2113.39</c:v>
                </c:pt>
                <c:pt idx="2">
                  <c:v>1464.2</c:v>
                </c:pt>
                <c:pt idx="3">
                  <c:v>1738.05</c:v>
                </c:pt>
                <c:pt idx="4">
                  <c:v>874.66</c:v>
                </c:pt>
                <c:pt idx="5">
                  <c:v>1957.33</c:v>
                </c:pt>
                <c:pt idx="6">
                  <c:v>1194.98</c:v>
                </c:pt>
                <c:pt idx="7">
                  <c:v>2053.06</c:v>
                </c:pt>
                <c:pt idx="8">
                  <c:v>778.96</c:v>
                </c:pt>
                <c:pt idx="9">
                  <c:v>12933.64</c:v>
                </c:pt>
                <c:pt idx="10">
                  <c:v>1151.97</c:v>
                </c:pt>
                <c:pt idx="11">
                  <c:v>6027.0</c:v>
                </c:pt>
                <c:pt idx="12">
                  <c:v>895.05</c:v>
                </c:pt>
                <c:pt idx="13">
                  <c:v>18750.0</c:v>
                </c:pt>
                <c:pt idx="14">
                  <c:v>3782.42</c:v>
                </c:pt>
                <c:pt idx="15">
                  <c:v>2339.5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15</a:t>
                    </a:r>
                  </a:p>
                  <a:p>
                    <a:r>
                      <a:t>1712.6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
                </c:pt>
                <c:pt idx="1">
                  <c:v/>
                </c:pt>
                <c:pt idx="2">
                  <c:v>IX 115</c:v>
                </c:pt>
                <c:pt idx="3">
                  <c:v/>
                </c:pt>
                <c:pt idx="4">
                  <c:v/>
                </c:pt>
                <c:pt idx="5">
                  <c:v/>
                </c:pt>
                <c:pt idx="6">
                  <c:v/>
                </c:pt>
                <c:pt idx="7">
                  <c:v/>
                </c:pt>
                <c:pt idx="8">
                  <c:v/>
                </c:pt>
                <c:pt idx="9">
                  <c:v/>
                </c:pt>
                <c:pt idx="10">
                  <c:v/>
                </c:pt>
                <c:pt idx="11">
                  <c:v/>
                </c:pt>
                <c:pt idx="12">
                  <c:v/>
                </c:pt>
                <c:pt idx="13">
                  <c:v/>
                </c:pt>
                <c:pt idx="14">
                  <c:v/>
                </c:pt>
                <c:pt idx="15">
                  <c:v/>
                </c:pt>
              </c:strCache>
            </c:strRef>
          </c:cat>
          <c:val>
            <c:numRef>
              <c:f>Sheet1!$C$2:$C$17</c:f>
              <c:numCache>
                <c:formatCode>General</c:formatCode>
                <c:ptCount val="16"/>
                <c:pt idx="2">
                  <c:v>1712.6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
                </c:pt>
                <c:pt idx="1">
                  <c:v/>
                </c:pt>
                <c:pt idx="2">
                  <c:v>IX 115</c:v>
                </c:pt>
                <c:pt idx="3">
                  <c:v/>
                </c:pt>
                <c:pt idx="4">
                  <c:v/>
                </c:pt>
                <c:pt idx="5">
                  <c:v/>
                </c:pt>
                <c:pt idx="6">
                  <c:v/>
                </c:pt>
                <c:pt idx="7">
                  <c:v/>
                </c:pt>
                <c:pt idx="8">
                  <c:v/>
                </c:pt>
                <c:pt idx="9">
                  <c:v/>
                </c:pt>
                <c:pt idx="10">
                  <c:v/>
                </c:pt>
                <c:pt idx="11">
                  <c:v/>
                </c:pt>
                <c:pt idx="12">
                  <c:v/>
                </c:pt>
                <c:pt idx="13">
                  <c:v/>
                </c:pt>
                <c:pt idx="14">
                  <c:v/>
                </c:pt>
                <c:pt idx="15">
                  <c:v/>
                </c:pt>
              </c:strCache>
            </c:strRef>
          </c:cat>
          <c:val>
            <c:numRef>
              <c:f>Sheet1!$D$2:$D$17</c:f>
              <c:numCache>
                <c:formatCode>General</c:formatCode>
                <c:ptCount val="16"/>
                <c:pt idx="0">
                  <c:v>2635.83</c:v>
                </c:pt>
                <c:pt idx="2">
                  <c:v>1489.29</c:v>
                </c:pt>
                <c:pt idx="3">
                  <c:v>1738.0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
                </c:pt>
                <c:pt idx="1">
                  <c:v/>
                </c:pt>
                <c:pt idx="2">
                  <c:v>IX 115</c:v>
                </c:pt>
                <c:pt idx="3">
                  <c:v/>
                </c:pt>
                <c:pt idx="4">
                  <c:v/>
                </c:pt>
                <c:pt idx="5">
                  <c:v/>
                </c:pt>
                <c:pt idx="6">
                  <c:v/>
                </c:pt>
                <c:pt idx="7">
                  <c:v/>
                </c:pt>
                <c:pt idx="8">
                  <c:v/>
                </c:pt>
                <c:pt idx="9">
                  <c:v/>
                </c:pt>
                <c:pt idx="10">
                  <c:v/>
                </c:pt>
                <c:pt idx="11">
                  <c:v/>
                </c:pt>
                <c:pt idx="12">
                  <c:v/>
                </c:pt>
                <c:pt idx="13">
                  <c:v/>
                </c:pt>
                <c:pt idx="14">
                  <c:v/>
                </c:pt>
                <c:pt idx="15">
                  <c:v/>
                </c:pt>
              </c:strCache>
            </c:strRef>
          </c:cat>
          <c:val>
            <c:numRef>
              <c:f>Sheet1!$E$2:$E$17</c:f>
              <c:numCache>
                <c:formatCode>General</c:formatCode>
                <c:ptCount val="16"/>
                <c:pt idx="1">
                  <c:v>9003.47</c:v>
                </c:pt>
                <c:pt idx="5">
                  <c:v>1957.33</c:v>
                </c:pt>
                <c:pt idx="9">
                  <c:v>12933.6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
                </c:pt>
                <c:pt idx="1">
                  <c:v/>
                </c:pt>
                <c:pt idx="2">
                  <c:v>IX 115</c:v>
                </c:pt>
                <c:pt idx="3">
                  <c:v/>
                </c:pt>
                <c:pt idx="4">
                  <c:v/>
                </c:pt>
                <c:pt idx="5">
                  <c:v/>
                </c:pt>
                <c:pt idx="6">
                  <c:v/>
                </c:pt>
                <c:pt idx="7">
                  <c:v/>
                </c:pt>
                <c:pt idx="8">
                  <c:v/>
                </c:pt>
                <c:pt idx="9">
                  <c:v/>
                </c:pt>
                <c:pt idx="10">
                  <c:v/>
                </c:pt>
                <c:pt idx="11">
                  <c:v/>
                </c:pt>
                <c:pt idx="12">
                  <c:v/>
                </c:pt>
                <c:pt idx="13">
                  <c:v/>
                </c:pt>
                <c:pt idx="14">
                  <c:v/>
                </c:pt>
                <c:pt idx="15">
                  <c:v/>
                </c:pt>
              </c:strCache>
            </c:strRef>
          </c:cat>
          <c:val>
            <c:numRef>
              <c:f>Sheet1!$F$2:$F$17</c:f>
              <c:numCache>
                <c:formatCode>General</c:formatCode>
                <c:ptCount val="16"/>
                <c:pt idx="11">
                  <c:v>6027.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750.5"/>
          <c:min val="778.45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8</c:v>
                </c:pt>
                <c:pt idx="1">
                  <c:v>IX 93</c:v>
                </c:pt>
                <c:pt idx="2">
                  <c:v/>
                </c:pt>
                <c:pt idx="3">
                  <c:v/>
                </c:pt>
                <c:pt idx="4">
                  <c:v>IX 100</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B$2:$B$27</c:f>
              <c:numCache>
                <c:formatCode>General</c:formatCode>
                <c:ptCount val="26"/>
                <c:pt idx="0">
                  <c:v>1473.85</c:v>
                </c:pt>
                <c:pt idx="1">
                  <c:v>1504.77</c:v>
                </c:pt>
                <c:pt idx="2">
                  <c:v>4715.99</c:v>
                </c:pt>
                <c:pt idx="3">
                  <c:v>1563.35</c:v>
                </c:pt>
                <c:pt idx="4">
                  <c:v>1343.55</c:v>
                </c:pt>
                <c:pt idx="5">
                  <c:v>942.23</c:v>
                </c:pt>
                <c:pt idx="6">
                  <c:v>1544.84</c:v>
                </c:pt>
                <c:pt idx="7">
                  <c:v>14455.45</c:v>
                </c:pt>
                <c:pt idx="8">
                  <c:v>4813.24</c:v>
                </c:pt>
                <c:pt idx="9">
                  <c:v>6465.01</c:v>
                </c:pt>
                <c:pt idx="10">
                  <c:v>1755.97</c:v>
                </c:pt>
                <c:pt idx="11">
                  <c:v>3237.38</c:v>
                </c:pt>
                <c:pt idx="12">
                  <c:v>7633.02</c:v>
                </c:pt>
                <c:pt idx="13">
                  <c:v>6628.09</c:v>
                </c:pt>
                <c:pt idx="14">
                  <c:v>18875.17</c:v>
                </c:pt>
                <c:pt idx="15">
                  <c:v>1763.89</c:v>
                </c:pt>
                <c:pt idx="16">
                  <c:v>58090.78</c:v>
                </c:pt>
                <c:pt idx="17">
                  <c:v>4587.53</c:v>
                </c:pt>
                <c:pt idx="18">
                  <c:v>1731.98</c:v>
                </c:pt>
                <c:pt idx="19">
                  <c:v>2995.0</c:v>
                </c:pt>
                <c:pt idx="20">
                  <c:v>6577.56</c:v>
                </c:pt>
                <c:pt idx="21">
                  <c:v>1503.35</c:v>
                </c:pt>
                <c:pt idx="22">
                  <c:v>2802.84</c:v>
                </c:pt>
                <c:pt idx="23">
                  <c:v>2812.12</c:v>
                </c:pt>
                <c:pt idx="24">
                  <c:v>5222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269.68</a:t>
                    </a:r>
                  </a:p>
                </c:rich>
              </c:tx>
              <c:dLblPos val="l"/>
              <c:showLegendKey val="0"/>
              <c:showVal val="1"/>
              <c:showCatName val="0"/>
              <c:showSerName val="0"/>
              <c:showPercent val="0"/>
              <c:showBubbleSize val="0"/>
            </c:dLbl>
            <c:dLbl>
              <c:idx val="1"/>
              <c:tx>
                <c:rich>
                  <a:bodyPr/>
                  <a:lstStyle/>
                  <a:p>
                    <a:r>
                      <a:t>IX 93</a:t>
                    </a:r>
                  </a:p>
                  <a:p>
                    <a:r>
                      <a:t>1406.6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292.2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None</a:t>
                    </a:r>
                  </a:p>
                  <a:p>
                    <a:r>
                      <a:t>None</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dLbl>
              <c:idx val="24"/>
              <c:tx>
                <c:rich>
                  <a:bodyPr/>
                  <a:lstStyle/>
                  <a:p>
                    <a:r>
                      <a:t>None</a:t>
                    </a:r>
                  </a:p>
                  <a:p>
                    <a:r>
                      <a:t>None</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8</c:v>
                </c:pt>
                <c:pt idx="1">
                  <c:v>IX 93</c:v>
                </c:pt>
                <c:pt idx="2">
                  <c:v/>
                </c:pt>
                <c:pt idx="3">
                  <c:v/>
                </c:pt>
                <c:pt idx="4">
                  <c:v>IX 100</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C$2:$C$27</c:f>
              <c:numCache>
                <c:formatCode>General</c:formatCode>
                <c:ptCount val="26"/>
                <c:pt idx="0">
                  <c:v>1269.68</c:v>
                </c:pt>
                <c:pt idx="1">
                  <c:v>1406.63</c:v>
                </c:pt>
                <c:pt idx="4">
                  <c:v>1292.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8</c:v>
                </c:pt>
                <c:pt idx="1">
                  <c:v>IX 93</c:v>
                </c:pt>
                <c:pt idx="2">
                  <c:v/>
                </c:pt>
                <c:pt idx="3">
                  <c:v/>
                </c:pt>
                <c:pt idx="4">
                  <c:v>IX 100</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D$2:$D$27</c:f>
              <c:numCache>
                <c:formatCode>General</c:formatCode>
                <c:ptCount val="26"/>
                <c:pt idx="0">
                  <c:v>2672.15</c:v>
                </c:pt>
                <c:pt idx="1">
                  <c:v>1512.64</c:v>
                </c:pt>
                <c:pt idx="3">
                  <c:v>1563.29</c:v>
                </c:pt>
                <c:pt idx="12">
                  <c:v>7698.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8</c:v>
                </c:pt>
                <c:pt idx="1">
                  <c:v>IX 93</c:v>
                </c:pt>
                <c:pt idx="2">
                  <c:v/>
                </c:pt>
                <c:pt idx="3">
                  <c:v/>
                </c:pt>
                <c:pt idx="4">
                  <c:v>IX 100</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E$2:$E$27</c:f>
              <c:numCache>
                <c:formatCode>General</c:formatCode>
                <c:ptCount val="26"/>
                <c:pt idx="2">
                  <c:v>8981.66</c:v>
                </c:pt>
                <c:pt idx="7">
                  <c:v>12113.39</c:v>
                </c:pt>
                <c:pt idx="8">
                  <c:v>12782.08</c:v>
                </c:pt>
                <c:pt idx="9">
                  <c:v>4258.88</c:v>
                </c:pt>
                <c:pt idx="20">
                  <c:v>5944.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Is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8</c:v>
                </c:pt>
                <c:pt idx="1">
                  <c:v>IX 93</c:v>
                </c:pt>
                <c:pt idx="2">
                  <c:v/>
                </c:pt>
                <c:pt idx="3">
                  <c:v/>
                </c:pt>
                <c:pt idx="4">
                  <c:v>IX 100</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F$2:$F$27</c:f>
              <c:numCache>
                <c:formatCode>General</c:formatCode>
                <c:ptCount val="26"/>
                <c:pt idx="2">
                  <c:v>13060.86</c:v>
                </c:pt>
                <c:pt idx="7">
                  <c:v>14025.3</c:v>
                </c:pt>
                <c:pt idx="8">
                  <c:v>2677.76</c:v>
                </c:pt>
                <c:pt idx="9">
                  <c:v>7747.75</c:v>
                </c:pt>
                <c:pt idx="11">
                  <c:v>3219.54</c:v>
                </c:pt>
                <c:pt idx="16">
                  <c:v>58090.78</c:v>
                </c:pt>
                <c:pt idx="17">
                  <c:v>3462.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091.2831"/>
          <c:min val="941.731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4</c:v>
                </c:pt>
                <c:pt idx="1">
                  <c:v>IX 93</c:v>
                </c:pt>
                <c:pt idx="2">
                  <c:v/>
                </c:pt>
                <c:pt idx="3">
                  <c:v/>
                </c:pt>
                <c:pt idx="4">
                  <c:v>IX 100</c:v>
                </c:pt>
                <c:pt idx="5">
                  <c:v>IX 100</c:v>
                </c:pt>
                <c:pt idx="6">
                  <c:v>IX 100</c:v>
                </c:pt>
                <c:pt idx="7">
                  <c:v/>
                </c:pt>
                <c:pt idx="8">
                  <c:v/>
                </c:pt>
                <c:pt idx="9">
                  <c:v/>
                </c:pt>
                <c:pt idx="10">
                  <c:v>IX 100</c:v>
                </c:pt>
                <c:pt idx="11">
                  <c:v/>
                </c:pt>
                <c:pt idx="12">
                  <c:v>IX 80</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B$2:$B$27</c:f>
              <c:numCache>
                <c:formatCode>General</c:formatCode>
                <c:ptCount val="26"/>
                <c:pt idx="0">
                  <c:v>1473.85</c:v>
                </c:pt>
                <c:pt idx="1">
                  <c:v>1504.77</c:v>
                </c:pt>
                <c:pt idx="2">
                  <c:v>4715.99</c:v>
                </c:pt>
                <c:pt idx="3">
                  <c:v>1563.35</c:v>
                </c:pt>
                <c:pt idx="4">
                  <c:v>1343.55</c:v>
                </c:pt>
                <c:pt idx="5">
                  <c:v>942.23</c:v>
                </c:pt>
                <c:pt idx="6">
                  <c:v>1544.84</c:v>
                </c:pt>
                <c:pt idx="7">
                  <c:v>14455.45</c:v>
                </c:pt>
                <c:pt idx="8">
                  <c:v>4813.24</c:v>
                </c:pt>
                <c:pt idx="9">
                  <c:v>6465.01</c:v>
                </c:pt>
                <c:pt idx="10">
                  <c:v>1755.97</c:v>
                </c:pt>
                <c:pt idx="11">
                  <c:v>3237.38</c:v>
                </c:pt>
                <c:pt idx="12">
                  <c:v>7633.02</c:v>
                </c:pt>
                <c:pt idx="13">
                  <c:v>6628.09</c:v>
                </c:pt>
                <c:pt idx="14">
                  <c:v>18875.17</c:v>
                </c:pt>
                <c:pt idx="15">
                  <c:v>1763.89</c:v>
                </c:pt>
                <c:pt idx="16">
                  <c:v>58090.78</c:v>
                </c:pt>
                <c:pt idx="17">
                  <c:v>4587.53</c:v>
                </c:pt>
                <c:pt idx="18">
                  <c:v>1731.98</c:v>
                </c:pt>
                <c:pt idx="19">
                  <c:v>2995.0</c:v>
                </c:pt>
                <c:pt idx="20">
                  <c:v>6577.56</c:v>
                </c:pt>
                <c:pt idx="21">
                  <c:v>1503.35</c:v>
                </c:pt>
                <c:pt idx="22">
                  <c:v>2802.84</c:v>
                </c:pt>
                <c:pt idx="23">
                  <c:v>2812.12</c:v>
                </c:pt>
                <c:pt idx="24">
                  <c:v>5222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184.95</a:t>
                    </a:r>
                  </a:p>
                </c:rich>
              </c:tx>
              <c:dLblPos val="l"/>
              <c:showLegendKey val="0"/>
              <c:showVal val="1"/>
              <c:showCatName val="0"/>
              <c:showSerName val="0"/>
              <c:showPercent val="0"/>
              <c:showBubbleSize val="0"/>
            </c:dLbl>
            <c:dLbl>
              <c:idx val="1"/>
              <c:tx>
                <c:rich>
                  <a:bodyPr/>
                  <a:lstStyle/>
                  <a:p>
                    <a:r>
                      <a:t>IX 93</a:t>
                    </a:r>
                  </a:p>
                  <a:p>
                    <a:r>
                      <a:t>1407.0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0</a:t>
                    </a:r>
                  </a:p>
                  <a:p>
                    <a:r>
                      <a:t>1477.29</a:t>
                    </a:r>
                  </a:p>
                </c:rich>
              </c:tx>
              <c:dLblPos val="l"/>
              <c:showLegendKey val="0"/>
              <c:showVal val="1"/>
              <c:showCatName val="0"/>
              <c:showSerName val="0"/>
              <c:showPercent val="0"/>
              <c:showBubbleSize val="0"/>
            </c:dLbl>
            <c:dLbl>
              <c:idx val="5"/>
              <c:tx>
                <c:rich>
                  <a:bodyPr/>
                  <a:lstStyle/>
                  <a:p>
                    <a:r>
                      <a:t>IX 100</a:t>
                    </a:r>
                  </a:p>
                  <a:p>
                    <a:r>
                      <a:t>1194.87</a:t>
                    </a:r>
                  </a:p>
                </c:rich>
              </c:tx>
              <c:dLblPos val="l"/>
              <c:showLegendKey val="0"/>
              <c:showVal val="1"/>
              <c:showCatName val="0"/>
              <c:showSerName val="0"/>
              <c:showPercent val="0"/>
              <c:showBubbleSize val="0"/>
            </c:dLbl>
            <c:dLbl>
              <c:idx val="6"/>
              <c:tx>
                <c:rich>
                  <a:bodyPr/>
                  <a:lstStyle/>
                  <a:p>
                    <a:r>
                      <a:t>IX 100</a:t>
                    </a:r>
                  </a:p>
                  <a:p>
                    <a:r>
                      <a:t>1515.13</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1742.28</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IX 80</a:t>
                    </a:r>
                  </a:p>
                  <a:p>
                    <a:r>
                      <a:t>6153.66</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IX 100</a:t>
                    </a:r>
                  </a:p>
                  <a:p>
                    <a:r>
                      <a:t>1328.31</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IX 100</a:t>
                    </a:r>
                  </a:p>
                  <a:p>
                    <a:r>
                      <a:t>1226.46</a:t>
                    </a:r>
                  </a:p>
                </c:rich>
              </c:tx>
              <c:dLblPos val="l"/>
              <c:showLegendKey val="0"/>
              <c:showVal val="1"/>
              <c:showCatName val="0"/>
              <c:showSerName val="0"/>
              <c:showPercent val="0"/>
              <c:showBubbleSize val="0"/>
            </c:dLbl>
            <c:dLbl>
              <c:idx val="22"/>
              <c:tx>
                <c:rich>
                  <a:bodyPr/>
                  <a:lstStyle/>
                  <a:p>
                    <a:r>
                      <a:t>IX 100</a:t>
                    </a:r>
                  </a:p>
                  <a:p>
                    <a:r>
                      <a:t>2802.84</a:t>
                    </a:r>
                  </a:p>
                </c:rich>
              </c:tx>
              <c:dLblPos val="l"/>
              <c:showLegendKey val="0"/>
              <c:showVal val="1"/>
              <c:showCatName val="0"/>
              <c:showSerName val="0"/>
              <c:showPercent val="0"/>
              <c:showBubbleSize val="0"/>
            </c:dLbl>
            <c:dLbl>
              <c:idx val="23"/>
              <c:tx>
                <c:rich>
                  <a:bodyPr/>
                  <a:lstStyle/>
                  <a:p>
                    <a:r>
                      <a:t>IX 100</a:t>
                    </a:r>
                  </a:p>
                  <a:p>
                    <a:r>
                      <a:t>2812.12</a:t>
                    </a:r>
                  </a:p>
                </c:rich>
              </c:tx>
              <c:dLblPos val="l"/>
              <c:showLegendKey val="0"/>
              <c:showVal val="1"/>
              <c:showCatName val="0"/>
              <c:showSerName val="0"/>
              <c:showPercent val="0"/>
              <c:showBubbleSize val="0"/>
            </c:dLbl>
            <c:dLbl>
              <c:idx val="24"/>
              <c:tx>
                <c:rich>
                  <a:bodyPr/>
                  <a:lstStyle/>
                  <a:p>
                    <a:r>
                      <a:t>None</a:t>
                    </a:r>
                  </a:p>
                  <a:p>
                    <a:r>
                      <a:t>None</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4</c:v>
                </c:pt>
                <c:pt idx="1">
                  <c:v>IX 93</c:v>
                </c:pt>
                <c:pt idx="2">
                  <c:v/>
                </c:pt>
                <c:pt idx="3">
                  <c:v/>
                </c:pt>
                <c:pt idx="4">
                  <c:v>IX 100</c:v>
                </c:pt>
                <c:pt idx="5">
                  <c:v>IX 100</c:v>
                </c:pt>
                <c:pt idx="6">
                  <c:v>IX 100</c:v>
                </c:pt>
                <c:pt idx="7">
                  <c:v/>
                </c:pt>
                <c:pt idx="8">
                  <c:v/>
                </c:pt>
                <c:pt idx="9">
                  <c:v/>
                </c:pt>
                <c:pt idx="10">
                  <c:v>IX 100</c:v>
                </c:pt>
                <c:pt idx="11">
                  <c:v/>
                </c:pt>
                <c:pt idx="12">
                  <c:v>IX 80</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C$2:$C$27</c:f>
              <c:numCache>
                <c:formatCode>General</c:formatCode>
                <c:ptCount val="26"/>
                <c:pt idx="0">
                  <c:v>1184.95</c:v>
                </c:pt>
                <c:pt idx="1">
                  <c:v>1407.04</c:v>
                </c:pt>
                <c:pt idx="4">
                  <c:v>1477.29</c:v>
                </c:pt>
                <c:pt idx="5">
                  <c:v>1194.87</c:v>
                </c:pt>
                <c:pt idx="6">
                  <c:v>1515.13</c:v>
                </c:pt>
                <c:pt idx="10">
                  <c:v>1742.28</c:v>
                </c:pt>
                <c:pt idx="12">
                  <c:v>6153.66</c:v>
                </c:pt>
                <c:pt idx="15">
                  <c:v>1328.31</c:v>
                </c:pt>
                <c:pt idx="21">
                  <c:v>1226.46</c:v>
                </c:pt>
                <c:pt idx="22">
                  <c:v>2802.84</c:v>
                </c:pt>
                <c:pt idx="23">
                  <c:v>2812.1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4</c:v>
                </c:pt>
                <c:pt idx="1">
                  <c:v>IX 93</c:v>
                </c:pt>
                <c:pt idx="2">
                  <c:v/>
                </c:pt>
                <c:pt idx="3">
                  <c:v/>
                </c:pt>
                <c:pt idx="4">
                  <c:v>IX 100</c:v>
                </c:pt>
                <c:pt idx="5">
                  <c:v>IX 100</c:v>
                </c:pt>
                <c:pt idx="6">
                  <c:v>IX 100</c:v>
                </c:pt>
                <c:pt idx="7">
                  <c:v/>
                </c:pt>
                <c:pt idx="8">
                  <c:v/>
                </c:pt>
                <c:pt idx="9">
                  <c:v/>
                </c:pt>
                <c:pt idx="10">
                  <c:v>IX 100</c:v>
                </c:pt>
                <c:pt idx="11">
                  <c:v/>
                </c:pt>
                <c:pt idx="12">
                  <c:v>IX 80</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D$2:$D$27</c:f>
              <c:numCache>
                <c:formatCode>General</c:formatCode>
                <c:ptCount val="26"/>
                <c:pt idx="0">
                  <c:v>2672.15</c:v>
                </c:pt>
                <c:pt idx="1">
                  <c:v>1512.64</c:v>
                </c:pt>
                <c:pt idx="3">
                  <c:v>1563.29</c:v>
                </c:pt>
                <c:pt idx="12">
                  <c:v>7698.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4</c:v>
                </c:pt>
                <c:pt idx="1">
                  <c:v>IX 93</c:v>
                </c:pt>
                <c:pt idx="2">
                  <c:v/>
                </c:pt>
                <c:pt idx="3">
                  <c:v/>
                </c:pt>
                <c:pt idx="4">
                  <c:v>IX 100</c:v>
                </c:pt>
                <c:pt idx="5">
                  <c:v>IX 100</c:v>
                </c:pt>
                <c:pt idx="6">
                  <c:v>IX 100</c:v>
                </c:pt>
                <c:pt idx="7">
                  <c:v/>
                </c:pt>
                <c:pt idx="8">
                  <c:v/>
                </c:pt>
                <c:pt idx="9">
                  <c:v/>
                </c:pt>
                <c:pt idx="10">
                  <c:v>IX 100</c:v>
                </c:pt>
                <c:pt idx="11">
                  <c:v/>
                </c:pt>
                <c:pt idx="12">
                  <c:v>IX 80</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E$2:$E$27</c:f>
              <c:numCache>
                <c:formatCode>General</c:formatCode>
                <c:ptCount val="26"/>
                <c:pt idx="2">
                  <c:v>13060.86</c:v>
                </c:pt>
                <c:pt idx="7">
                  <c:v>14025.3</c:v>
                </c:pt>
                <c:pt idx="8">
                  <c:v>2677.76</c:v>
                </c:pt>
                <c:pt idx="9">
                  <c:v>7747.75</c:v>
                </c:pt>
                <c:pt idx="11">
                  <c:v>3219.54</c:v>
                </c:pt>
                <c:pt idx="16">
                  <c:v>58090.78</c:v>
                </c:pt>
                <c:pt idx="17">
                  <c:v>3462.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IX 44</c:v>
                </c:pt>
                <c:pt idx="1">
                  <c:v>IX 93</c:v>
                </c:pt>
                <c:pt idx="2">
                  <c:v/>
                </c:pt>
                <c:pt idx="3">
                  <c:v/>
                </c:pt>
                <c:pt idx="4">
                  <c:v>IX 100</c:v>
                </c:pt>
                <c:pt idx="5">
                  <c:v>IX 100</c:v>
                </c:pt>
                <c:pt idx="6">
                  <c:v>IX 100</c:v>
                </c:pt>
                <c:pt idx="7">
                  <c:v/>
                </c:pt>
                <c:pt idx="8">
                  <c:v/>
                </c:pt>
                <c:pt idx="9">
                  <c:v/>
                </c:pt>
                <c:pt idx="10">
                  <c:v>IX 100</c:v>
                </c:pt>
                <c:pt idx="11">
                  <c:v/>
                </c:pt>
                <c:pt idx="12">
                  <c:v>IX 80</c:v>
                </c:pt>
                <c:pt idx="13">
                  <c:v/>
                </c:pt>
                <c:pt idx="14">
                  <c:v/>
                </c:pt>
                <c:pt idx="15">
                  <c:v>IX 100</c:v>
                </c:pt>
                <c:pt idx="16">
                  <c:v/>
                </c:pt>
                <c:pt idx="17">
                  <c:v/>
                </c:pt>
                <c:pt idx="18">
                  <c:v/>
                </c:pt>
                <c:pt idx="19">
                  <c:v/>
                </c:pt>
                <c:pt idx="20">
                  <c:v/>
                </c:pt>
                <c:pt idx="21">
                  <c:v>IX 100</c:v>
                </c:pt>
                <c:pt idx="22">
                  <c:v>IX 100</c:v>
                </c:pt>
                <c:pt idx="23">
                  <c:v>IX 100</c:v>
                </c:pt>
                <c:pt idx="24">
                  <c:v/>
                </c:pt>
                <c:pt idx="25">
                  <c:v/>
                </c:pt>
              </c:strCache>
            </c:strRef>
          </c:cat>
          <c:val>
            <c:numRef>
              <c:f>Sheet1!$F$2:$F$27</c:f>
              <c:numCache>
                <c:formatCode>General</c:formatCode>
                <c:ptCount val="26"/>
                <c:pt idx="2">
                  <c:v>8981.66</c:v>
                </c:pt>
                <c:pt idx="7">
                  <c:v>12113.39</c:v>
                </c:pt>
                <c:pt idx="8">
                  <c:v>12782.08</c:v>
                </c:pt>
                <c:pt idx="9">
                  <c:v>4258.88</c:v>
                </c:pt>
                <c:pt idx="20">
                  <c:v>5944.1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091.2831"/>
          <c:min val="941.731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23</c:v>
                </c:pt>
              </c:strCache>
            </c:strRef>
          </c:cat>
          <c:val>
            <c:numRef>
              <c:f>Sheet1!$B$2:$B$2</c:f>
              <c:numCache>
                <c:formatCode>General</c:formatCode>
                <c:ptCount val="1"/>
                <c:pt idx="0">
                  <c:v>2435.2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23</a:t>
                    </a:r>
                  </a:p>
                  <a:p>
                    <a:r>
                      <a:t>3923.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23</c:v>
                </c:pt>
              </c:strCache>
            </c:strRef>
          </c:cat>
          <c:val>
            <c:numRef>
              <c:f>Sheet1!$C$2:$C$2</c:f>
              <c:numCache>
                <c:formatCode>General</c:formatCode>
                <c:ptCount val="1"/>
                <c:pt idx="0">
                  <c:v>39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23</c:v>
                </c:pt>
              </c:strCache>
            </c:strRef>
          </c:cat>
          <c:val>
            <c:numRef>
              <c:f>Sheet1!$D$2:$D$2</c:f>
              <c:numCache>
                <c:formatCode>General</c:formatCode>
                <c:ptCount val="1"/>
                <c:pt idx="0">
                  <c:v>1758.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23</c:v>
                </c:pt>
              </c:strCache>
            </c:strRef>
          </c:cat>
          <c:val>
            <c:numRef>
              <c:f>Sheet1!$E$2:$E$2</c:f>
              <c:numCache>
                <c:formatCode>General</c:formatCode>
                <c:ptCount val="1"/>
                <c:pt idx="0">
                  <c:v>10539.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23</c:v>
                </c:pt>
              </c:strCache>
            </c:strRef>
          </c:cat>
          <c:val>
            <c:numRef>
              <c:f>Sheet1!$F$2:$F$2</c:f>
              <c:numCache>
                <c:formatCode>General</c:formatCode>
                <c:ptCount val="1"/>
                <c:pt idx="0">
                  <c:v>7854.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540.3647"/>
          <c:min val="1757.70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
                </c:pt>
                <c:pt idx="1">
                  <c:v>IX 324</c:v>
                </c:pt>
                <c:pt idx="2">
                  <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B$2:$B$27</c:f>
              <c:numCache>
                <c:formatCode>General</c:formatCode>
                <c:ptCount val="26"/>
                <c:pt idx="0">
                  <c:v>1473.85</c:v>
                </c:pt>
                <c:pt idx="1">
                  <c:v>1504.77</c:v>
                </c:pt>
                <c:pt idx="2">
                  <c:v>4715.99</c:v>
                </c:pt>
                <c:pt idx="3">
                  <c:v>1563.35</c:v>
                </c:pt>
                <c:pt idx="4">
                  <c:v>1343.55</c:v>
                </c:pt>
                <c:pt idx="5">
                  <c:v>942.23</c:v>
                </c:pt>
                <c:pt idx="6">
                  <c:v>1544.84</c:v>
                </c:pt>
                <c:pt idx="7">
                  <c:v>14455.45</c:v>
                </c:pt>
                <c:pt idx="8">
                  <c:v>4813.24</c:v>
                </c:pt>
                <c:pt idx="9">
                  <c:v>6465.01</c:v>
                </c:pt>
                <c:pt idx="10">
                  <c:v>1755.97</c:v>
                </c:pt>
                <c:pt idx="11">
                  <c:v>3237.38</c:v>
                </c:pt>
                <c:pt idx="12">
                  <c:v>7633.02</c:v>
                </c:pt>
                <c:pt idx="13">
                  <c:v>6628.09</c:v>
                </c:pt>
                <c:pt idx="14">
                  <c:v>18875.17</c:v>
                </c:pt>
                <c:pt idx="15">
                  <c:v>1763.89</c:v>
                </c:pt>
                <c:pt idx="16">
                  <c:v>58090.78</c:v>
                </c:pt>
                <c:pt idx="17">
                  <c:v>4587.53</c:v>
                </c:pt>
                <c:pt idx="18">
                  <c:v>1731.98</c:v>
                </c:pt>
                <c:pt idx="19">
                  <c:v>2995.0</c:v>
                </c:pt>
                <c:pt idx="20">
                  <c:v>6577.56</c:v>
                </c:pt>
                <c:pt idx="21">
                  <c:v>1503.35</c:v>
                </c:pt>
                <c:pt idx="22">
                  <c:v>2802.84</c:v>
                </c:pt>
                <c:pt idx="23">
                  <c:v>2812.12</c:v>
                </c:pt>
                <c:pt idx="24">
                  <c:v>52227.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24</a:t>
                    </a:r>
                  </a:p>
                  <a:p>
                    <a:r>
                      <a:t>4900.6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dLbl>
              <c:idx val="14"/>
              <c:tx>
                <c:rich>
                  <a:bodyPr/>
                  <a:lstStyle/>
                  <a:p>
                    <a:r>
                      <a:t>None</a:t>
                    </a:r>
                  </a:p>
                  <a:p>
                    <a:r>
                      <a:t>None</a:t>
                    </a:r>
                  </a:p>
                </c:rich>
              </c:tx>
              <c:dLblPos val="l"/>
              <c:showLegendKey val="0"/>
              <c:showVal val="1"/>
              <c:showCatName val="0"/>
              <c:showSerName val="0"/>
              <c:showPercent val="0"/>
              <c:showBubbleSize val="0"/>
            </c:dLbl>
            <c:dLbl>
              <c:idx val="15"/>
              <c:tx>
                <c:rich>
                  <a:bodyPr/>
                  <a:lstStyle/>
                  <a:p>
                    <a:r>
                      <a:t>None</a:t>
                    </a:r>
                  </a:p>
                  <a:p>
                    <a:r>
                      <a:t>None</a:t>
                    </a:r>
                  </a:p>
                </c:rich>
              </c:tx>
              <c:dLblPos val="l"/>
              <c:showLegendKey val="0"/>
              <c:showVal val="1"/>
              <c:showCatName val="0"/>
              <c:showSerName val="0"/>
              <c:showPercent val="0"/>
              <c:showBubbleSize val="0"/>
            </c:dLbl>
            <c:dLbl>
              <c:idx val="16"/>
              <c:tx>
                <c:rich>
                  <a:bodyPr/>
                  <a:lstStyle/>
                  <a:p>
                    <a:r>
                      <a:t>None</a:t>
                    </a:r>
                  </a:p>
                  <a:p>
                    <a:r>
                      <a:t>None</a:t>
                    </a:r>
                  </a:p>
                </c:rich>
              </c:tx>
              <c:dLblPos val="l"/>
              <c:showLegendKey val="0"/>
              <c:showVal val="1"/>
              <c:showCatName val="0"/>
              <c:showSerName val="0"/>
              <c:showPercent val="0"/>
              <c:showBubbleSize val="0"/>
            </c:dLbl>
            <c:dLbl>
              <c:idx val="17"/>
              <c:tx>
                <c:rich>
                  <a:bodyPr/>
                  <a:lstStyle/>
                  <a:p>
                    <a:r>
                      <a:t>None</a:t>
                    </a:r>
                  </a:p>
                  <a:p>
                    <a:r>
                      <a:t>None</a:t>
                    </a:r>
                  </a:p>
                </c:rich>
              </c:tx>
              <c:dLblPos val="l"/>
              <c:showLegendKey val="0"/>
              <c:showVal val="1"/>
              <c:showCatName val="0"/>
              <c:showSerName val="0"/>
              <c:showPercent val="0"/>
              <c:showBubbleSize val="0"/>
            </c:dLbl>
            <c:dLbl>
              <c:idx val="18"/>
              <c:tx>
                <c:rich>
                  <a:bodyPr/>
                  <a:lstStyle/>
                  <a:p>
                    <a:r>
                      <a:t>None</a:t>
                    </a:r>
                  </a:p>
                  <a:p>
                    <a:r>
                      <a:t>None</a:t>
                    </a:r>
                  </a:p>
                </c:rich>
              </c:tx>
              <c:dLblPos val="l"/>
              <c:showLegendKey val="0"/>
              <c:showVal val="1"/>
              <c:showCatName val="0"/>
              <c:showSerName val="0"/>
              <c:showPercent val="0"/>
              <c:showBubbleSize val="0"/>
            </c:dLbl>
            <c:dLbl>
              <c:idx val="19"/>
              <c:tx>
                <c:rich>
                  <a:bodyPr/>
                  <a:lstStyle/>
                  <a:p>
                    <a:r>
                      <a:t>None</a:t>
                    </a:r>
                  </a:p>
                  <a:p>
                    <a:r>
                      <a:t>None</a:t>
                    </a:r>
                  </a:p>
                </c:rich>
              </c:tx>
              <c:dLblPos val="l"/>
              <c:showLegendKey val="0"/>
              <c:showVal val="1"/>
              <c:showCatName val="0"/>
              <c:showSerName val="0"/>
              <c:showPercent val="0"/>
              <c:showBubbleSize val="0"/>
            </c:dLbl>
            <c:dLbl>
              <c:idx val="20"/>
              <c:tx>
                <c:rich>
                  <a:bodyPr/>
                  <a:lstStyle/>
                  <a:p>
                    <a:r>
                      <a:t>None</a:t>
                    </a:r>
                  </a:p>
                  <a:p>
                    <a:r>
                      <a:t>None</a:t>
                    </a:r>
                  </a:p>
                </c:rich>
              </c:tx>
              <c:dLblPos val="l"/>
              <c:showLegendKey val="0"/>
              <c:showVal val="1"/>
              <c:showCatName val="0"/>
              <c:showSerName val="0"/>
              <c:showPercent val="0"/>
              <c:showBubbleSize val="0"/>
            </c:dLbl>
            <c:dLbl>
              <c:idx val="21"/>
              <c:tx>
                <c:rich>
                  <a:bodyPr/>
                  <a:lstStyle/>
                  <a:p>
                    <a:r>
                      <a:t>None</a:t>
                    </a:r>
                  </a:p>
                  <a:p>
                    <a:r>
                      <a:t>None</a:t>
                    </a:r>
                  </a:p>
                </c:rich>
              </c:tx>
              <c:dLblPos val="l"/>
              <c:showLegendKey val="0"/>
              <c:showVal val="1"/>
              <c:showCatName val="0"/>
              <c:showSerName val="0"/>
              <c:showPercent val="0"/>
              <c:showBubbleSize val="0"/>
            </c:dLbl>
            <c:dLbl>
              <c:idx val="22"/>
              <c:tx>
                <c:rich>
                  <a:bodyPr/>
                  <a:lstStyle/>
                  <a:p>
                    <a:r>
                      <a:t>None</a:t>
                    </a:r>
                  </a:p>
                  <a:p>
                    <a:r>
                      <a:t>None</a:t>
                    </a:r>
                  </a:p>
                </c:rich>
              </c:tx>
              <c:dLblPos val="l"/>
              <c:showLegendKey val="0"/>
              <c:showVal val="1"/>
              <c:showCatName val="0"/>
              <c:showSerName val="0"/>
              <c:showPercent val="0"/>
              <c:showBubbleSize val="0"/>
            </c:dLbl>
            <c:dLbl>
              <c:idx val="23"/>
              <c:tx>
                <c:rich>
                  <a:bodyPr/>
                  <a:lstStyle/>
                  <a:p>
                    <a:r>
                      <a:t>None</a:t>
                    </a:r>
                  </a:p>
                  <a:p>
                    <a:r>
                      <a:t>None</a:t>
                    </a:r>
                  </a:p>
                </c:rich>
              </c:tx>
              <c:dLblPos val="l"/>
              <c:showLegendKey val="0"/>
              <c:showVal val="1"/>
              <c:showCatName val="0"/>
              <c:showSerName val="0"/>
              <c:showPercent val="0"/>
              <c:showBubbleSize val="0"/>
            </c:dLbl>
            <c:dLbl>
              <c:idx val="24"/>
              <c:tx>
                <c:rich>
                  <a:bodyPr/>
                  <a:lstStyle/>
                  <a:p>
                    <a:r>
                      <a:t>None</a:t>
                    </a:r>
                  </a:p>
                  <a:p>
                    <a:r>
                      <a:t>None</a:t>
                    </a:r>
                  </a:p>
                </c:rich>
              </c:tx>
              <c:dLblPos val="l"/>
              <c:showLegendKey val="0"/>
              <c:showVal val="1"/>
              <c:showCatName val="0"/>
              <c:showSerName val="0"/>
              <c:showPercent val="0"/>
              <c:showBubbleSize val="0"/>
            </c:dLbl>
            <c:dLbl>
              <c:idx val="25"/>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
                </c:pt>
                <c:pt idx="1">
                  <c:v>IX 324</c:v>
                </c:pt>
                <c:pt idx="2">
                  <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C$2:$C$27</c:f>
              <c:numCache>
                <c:formatCode>General</c:formatCode>
                <c:ptCount val="26"/>
                <c:pt idx="1">
                  <c:v>4900.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
                </c:pt>
                <c:pt idx="1">
                  <c:v>IX 324</c:v>
                </c:pt>
                <c:pt idx="2">
                  <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D$2:$D$27</c:f>
              <c:numCache>
                <c:formatCode>General</c:formatCode>
                <c:ptCount val="26"/>
                <c:pt idx="0">
                  <c:v>2672.15</c:v>
                </c:pt>
                <c:pt idx="1">
                  <c:v>1512.64</c:v>
                </c:pt>
                <c:pt idx="3">
                  <c:v>1563.29</c:v>
                </c:pt>
                <c:pt idx="12">
                  <c:v>7698.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
                </c:pt>
                <c:pt idx="1">
                  <c:v>IX 324</c:v>
                </c:pt>
                <c:pt idx="2">
                  <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E$2:$E$27</c:f>
              <c:numCache>
                <c:formatCode>General</c:formatCode>
                <c:ptCount val="26"/>
                <c:pt idx="2">
                  <c:v>13060.86</c:v>
                </c:pt>
                <c:pt idx="7">
                  <c:v>14025.3</c:v>
                </c:pt>
                <c:pt idx="8">
                  <c:v>2677.76</c:v>
                </c:pt>
                <c:pt idx="9">
                  <c:v>7747.75</c:v>
                </c:pt>
                <c:pt idx="11">
                  <c:v>3219.54</c:v>
                </c:pt>
                <c:pt idx="16">
                  <c:v>58090.78</c:v>
                </c:pt>
                <c:pt idx="17">
                  <c:v>3462.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
                </c:pt>
                <c:pt idx="1">
                  <c:v>IX 324</c:v>
                </c:pt>
                <c:pt idx="2">
                  <c:v/>
                </c:pt>
                <c:pt idx="3">
                  <c:v/>
                </c:pt>
                <c:pt idx="4">
                  <c:v/>
                </c:pt>
                <c:pt idx="5">
                  <c:v/>
                </c:pt>
                <c:pt idx="6">
                  <c:v/>
                </c:pt>
                <c:pt idx="7">
                  <c:v/>
                </c:pt>
                <c:pt idx="8">
                  <c:v/>
                </c:pt>
                <c:pt idx="9">
                  <c:v/>
                </c:pt>
                <c:pt idx="10">
                  <c:v/>
                </c:pt>
                <c:pt idx="11">
                  <c:v/>
                </c:pt>
                <c:pt idx="12">
                  <c:v/>
                </c:pt>
                <c:pt idx="13">
                  <c:v/>
                </c:pt>
                <c:pt idx="14">
                  <c:v/>
                </c:pt>
                <c:pt idx="15">
                  <c:v/>
                </c:pt>
                <c:pt idx="16">
                  <c:v/>
                </c:pt>
                <c:pt idx="17">
                  <c:v/>
                </c:pt>
                <c:pt idx="18">
                  <c:v/>
                </c:pt>
                <c:pt idx="19">
                  <c:v/>
                </c:pt>
                <c:pt idx="20">
                  <c:v/>
                </c:pt>
                <c:pt idx="21">
                  <c:v/>
                </c:pt>
                <c:pt idx="22">
                  <c:v/>
                </c:pt>
                <c:pt idx="23">
                  <c:v/>
                </c:pt>
                <c:pt idx="24">
                  <c:v/>
                </c:pt>
                <c:pt idx="25">
                  <c:v/>
                </c:pt>
              </c:strCache>
            </c:strRef>
          </c:cat>
          <c:val>
            <c:numRef>
              <c:f>Sheet1!$F$2:$F$27</c:f>
              <c:numCache>
                <c:formatCode>General</c:formatCode>
                <c:ptCount val="26"/>
                <c:pt idx="2">
                  <c:v>8981.66</c:v>
                </c:pt>
                <c:pt idx="7">
                  <c:v>12113.39</c:v>
                </c:pt>
                <c:pt idx="8">
                  <c:v>12782.08</c:v>
                </c:pt>
                <c:pt idx="9">
                  <c:v>4258.88</c:v>
                </c:pt>
                <c:pt idx="20">
                  <c:v>5944.1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091.2831"/>
          <c:min val="941.731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B$2:$B$2</c:f>
              <c:numCache>
                <c:formatCode>General</c:formatCode>
                <c:ptCount val="1"/>
                <c:pt idx="0">
                  <c:v>2479.5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9</a:t>
                    </a:r>
                  </a:p>
                  <a:p>
                    <a:r>
                      <a:t>1227.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C$2:$C$2</c:f>
              <c:numCache>
                <c:formatCode>General</c:formatCode>
                <c:ptCount val="1"/>
                <c:pt idx="0">
                  <c:v>1227.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D$2:$D$2</c:f>
              <c:numCache>
                <c:formatCode>General</c:formatCode>
                <c:ptCount val="1"/>
                <c:pt idx="0">
                  <c:v>1767.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E$2:$E$2</c:f>
              <c:numCache>
                <c:formatCode>General</c:formatCode>
                <c:ptCount val="1"/>
                <c:pt idx="0">
                  <c:v>10861.3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F$2:$F$2</c:f>
              <c:numCache>
                <c:formatCode>General</c:formatCode>
                <c:ptCount val="1"/>
                <c:pt idx="0">
                  <c:v>7764.7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861.846"/>
          <c:min val="1226.89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02/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949666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Canal Modern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539114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Canal Modern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136682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Convenience + Farmacias Cad + Hard Discounte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607469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Convenience + Farmacias Cad + Hard Discounte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445951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Convenience + Farmacias Cad + Hard Discounte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808605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Canal Tradic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015349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Canal Tradic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492878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Canal Tradic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060526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118116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862815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Canal Modern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697052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258483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241678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Canal Modern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87686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Convenience + Farmacias Cad + Hard Discounte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546508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Canal Tradic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4% | -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0134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384153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892052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59339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045012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Canal Modern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00304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Convenience + Farmacias Cad + Hard Discounte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708251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Canal Modern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719219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Canal Modern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856939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Convenience + Farmacias Cad + Hard Discounte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54797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Convenience + Farmacias Cad + Hard Discounte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723728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Convenience + Farmacias Cad + Hard Discounte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382540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Canal Tradic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116878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Canal Tradic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49901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Canal Tradic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734369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6148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800100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Canal Tradic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4% | -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251194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762318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Nat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569233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Canal Modern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803270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Convenience + Farmacias Cad + Hard Discounters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9%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5277588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Canal Tradic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4%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8.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1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9% | 1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894936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5% | -5.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737638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Nat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99533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Nat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556106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Nat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02075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Canal Modern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362392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8984202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Canal Modern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140663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Canal Modern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145030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Convenience + Farmacias Cad + Hard Discounters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678238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Convenience + Farmacias Cad + Hard Discounters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0647366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Convenience + Farmacias Cad + Hard Discounters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150491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Canal Tradic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4%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1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9% | -5.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60911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Canal Tradic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4%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3% | -7.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9% | 1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1% | 5.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6754083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Canal Tradic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4%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622919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5%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0417982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5% | -5.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83410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907478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2268837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Nat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404288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Canal Modern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87919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Convenience + Farmacias Cad + Hard Discounters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9%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6320840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Canal Tradic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4%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8.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 | -1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9% | 1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9191621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6%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5% | -5.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4749903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Nat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3981995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Nat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2276193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Nat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2666746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Canal Modern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092121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11463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Canal Modern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7132705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Canal Modern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9%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0468129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Convenience + Farmacias Cad + Hard Discounters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9213492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Convenience + Farmacias Cad + Hard Discounters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8%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340981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Convenience + Farmacias Cad + Hard Discounters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9%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2606960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Canal Tradic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4%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1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9% | -5.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4783154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Canal Tradic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4%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3% | -7.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9% | 1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1% | 5.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7581281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Canal Tradic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4%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6898556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5%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6114517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5% | -5.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300479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5355033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Derma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ort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osmetics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491534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Canal Modern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997209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8</TotalTime>
  <Words>7920</Words>
  <Application>Microsoft Office PowerPoint</Application>
  <PresentationFormat>On-screen Show (16:9)</PresentationFormat>
  <Paragraphs>1680</Paragraphs>
  <Slides>80</Slides>
  <Notes>8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0</vt:i4>
      </vt:variant>
    </vt:vector>
  </HeadingPairs>
  <TitlesOfParts>
    <vt:vector size="9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0</cp:revision>
  <dcterms:created xsi:type="dcterms:W3CDTF">2024-07-05T14:56:51Z</dcterms:created>
  <dcterms:modified xsi:type="dcterms:W3CDTF">2025-07-02T15:0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